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3.xml" ContentType="application/vnd.openxmlformats-officedocument.theme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theme/theme4.xml" ContentType="application/vnd.openxmlformats-officedocument.theme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5.xml" ContentType="application/vnd.openxmlformats-officedocument.theme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theme/theme6.xml" ContentType="application/vnd.openxmlformats-officedocument.theme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theme/theme7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theme/theme8.xml" ContentType="application/vnd.openxmlformats-officedocument.theme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theme/theme9.xml" ContentType="application/vnd.openxmlformats-officedocument.theme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theme/theme10.xml" ContentType="application/vnd.openxmlformats-officedocument.theme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theme/theme11.xml" ContentType="application/vnd.openxmlformats-officedocument.theme+xml"/>
  <Override PartName="/ppt/theme/theme1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60" r:id="rId4"/>
    <p:sldMasterId id="2147483664" r:id="rId5"/>
    <p:sldMasterId id="2147483756" r:id="rId6"/>
    <p:sldMasterId id="2147483794" r:id="rId7"/>
    <p:sldMasterId id="2147483855" r:id="rId8"/>
    <p:sldMasterId id="2147483876" r:id="rId9"/>
    <p:sldMasterId id="2147483899" r:id="rId10"/>
    <p:sldMasterId id="2147483906" r:id="rId11"/>
    <p:sldMasterId id="2147483952" r:id="rId12"/>
    <p:sldMasterId id="2147483973" r:id="rId13"/>
    <p:sldMasterId id="2147484011" r:id="rId14"/>
  </p:sldMasterIdLst>
  <p:notesMasterIdLst>
    <p:notesMasterId r:id="rId19"/>
  </p:notesMasterIdLst>
  <p:sldIdLst>
    <p:sldId id="537" r:id="rId15"/>
    <p:sldId id="552" r:id="rId16"/>
    <p:sldId id="555" r:id="rId17"/>
    <p:sldId id="548" r:id="rId1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F08D554A-D5E9-423B-85FA-020396102A04}">
          <p14:sldIdLst>
            <p14:sldId id="537"/>
            <p14:sldId id="552"/>
            <p14:sldId id="555"/>
            <p14:sldId id="548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Author" initials="A" lastIdx="0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940675A-B579-460E-94D1-54222C63F5D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8836" autoAdjust="0"/>
    <p:restoredTop sz="43623" autoAdjust="0"/>
  </p:normalViewPr>
  <p:slideViewPr>
    <p:cSldViewPr snapToGrid="0">
      <p:cViewPr varScale="1">
        <p:scale>
          <a:sx n="115" d="100"/>
          <a:sy n="115" d="100"/>
        </p:scale>
        <p:origin x="1554" y="10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279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4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2.xml"/><Relationship Id="rId20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.xml"/><Relationship Id="rId23" Type="http://schemas.openxmlformats.org/officeDocument/2006/relationships/theme" Target="theme/theme1.xml"/><Relationship Id="rId10" Type="http://schemas.openxmlformats.org/officeDocument/2006/relationships/slideMaster" Target="slideMasters/slideMaster7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A69C09F-5E66-434C-AD93-1760267581F1}" type="datetimeFigureOut">
              <a:rPr lang="en-US" smtClean="0"/>
              <a:t>12/19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FA9FD9E-A86F-4906-8179-F3AEE99A83C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43188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20.png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1.emf"/><Relationship Id="rId4" Type="http://schemas.openxmlformats.org/officeDocument/2006/relationships/oleObject" Target="../embeddings/oleObject2.bin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1.emf"/><Relationship Id="rId4" Type="http://schemas.openxmlformats.org/officeDocument/2006/relationships/oleObject" Target="../embeddings/oleObject3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25.jpeg"/><Relationship Id="rId4" Type="http://schemas.openxmlformats.org/officeDocument/2006/relationships/image" Target="../media/image24.jpeg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7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9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0.xml"/></Relationships>
</file>

<file path=ppt/slideLayouts/_rels/slideLayout169.xml.rels><?xml version="1.0" encoding="UTF-8" standalone="yes"?>
<Relationships xmlns="http://schemas.openxmlformats.org/package/2006/relationships"><Relationship Id="rId13" Type="http://schemas.openxmlformats.org/officeDocument/2006/relationships/image" Target="../media/image41.png"/><Relationship Id="rId18" Type="http://schemas.openxmlformats.org/officeDocument/2006/relationships/image" Target="../media/image46.png"/><Relationship Id="rId26" Type="http://schemas.openxmlformats.org/officeDocument/2006/relationships/image" Target="../media/image54.png"/><Relationship Id="rId39" Type="http://schemas.openxmlformats.org/officeDocument/2006/relationships/image" Target="../media/image67.png"/><Relationship Id="rId21" Type="http://schemas.openxmlformats.org/officeDocument/2006/relationships/image" Target="../media/image49.png"/><Relationship Id="rId34" Type="http://schemas.openxmlformats.org/officeDocument/2006/relationships/image" Target="../media/image62.png"/><Relationship Id="rId42" Type="http://schemas.openxmlformats.org/officeDocument/2006/relationships/image" Target="../media/image70.png"/><Relationship Id="rId47" Type="http://schemas.openxmlformats.org/officeDocument/2006/relationships/image" Target="../media/image75.png"/><Relationship Id="rId50" Type="http://schemas.openxmlformats.org/officeDocument/2006/relationships/image" Target="../media/image78.png"/><Relationship Id="rId7" Type="http://schemas.openxmlformats.org/officeDocument/2006/relationships/image" Target="../media/image35.png"/><Relationship Id="rId2" Type="http://schemas.openxmlformats.org/officeDocument/2006/relationships/image" Target="../media/image30.png"/><Relationship Id="rId16" Type="http://schemas.openxmlformats.org/officeDocument/2006/relationships/image" Target="../media/image44.png"/><Relationship Id="rId29" Type="http://schemas.openxmlformats.org/officeDocument/2006/relationships/image" Target="../media/image57.png"/><Relationship Id="rId11" Type="http://schemas.openxmlformats.org/officeDocument/2006/relationships/image" Target="../media/image39.png"/><Relationship Id="rId24" Type="http://schemas.openxmlformats.org/officeDocument/2006/relationships/image" Target="../media/image52.png"/><Relationship Id="rId32" Type="http://schemas.openxmlformats.org/officeDocument/2006/relationships/image" Target="../media/image60.png"/><Relationship Id="rId37" Type="http://schemas.openxmlformats.org/officeDocument/2006/relationships/image" Target="../media/image65.png"/><Relationship Id="rId40" Type="http://schemas.openxmlformats.org/officeDocument/2006/relationships/image" Target="../media/image68.png"/><Relationship Id="rId45" Type="http://schemas.openxmlformats.org/officeDocument/2006/relationships/image" Target="../media/image73.png"/><Relationship Id="rId53" Type="http://schemas.openxmlformats.org/officeDocument/2006/relationships/image" Target="../media/image81.png"/><Relationship Id="rId5" Type="http://schemas.openxmlformats.org/officeDocument/2006/relationships/image" Target="../media/image33.png"/><Relationship Id="rId10" Type="http://schemas.openxmlformats.org/officeDocument/2006/relationships/image" Target="../media/image38.png"/><Relationship Id="rId19" Type="http://schemas.openxmlformats.org/officeDocument/2006/relationships/image" Target="../media/image47.png"/><Relationship Id="rId31" Type="http://schemas.openxmlformats.org/officeDocument/2006/relationships/image" Target="../media/image59.png"/><Relationship Id="rId44" Type="http://schemas.openxmlformats.org/officeDocument/2006/relationships/image" Target="../media/image72.png"/><Relationship Id="rId52" Type="http://schemas.openxmlformats.org/officeDocument/2006/relationships/image" Target="../media/image80.png"/><Relationship Id="rId4" Type="http://schemas.openxmlformats.org/officeDocument/2006/relationships/image" Target="../media/image32.png"/><Relationship Id="rId9" Type="http://schemas.openxmlformats.org/officeDocument/2006/relationships/image" Target="../media/image37.png"/><Relationship Id="rId14" Type="http://schemas.openxmlformats.org/officeDocument/2006/relationships/image" Target="../media/image42.png"/><Relationship Id="rId22" Type="http://schemas.openxmlformats.org/officeDocument/2006/relationships/image" Target="../media/image50.png"/><Relationship Id="rId27" Type="http://schemas.openxmlformats.org/officeDocument/2006/relationships/image" Target="../media/image55.png"/><Relationship Id="rId30" Type="http://schemas.openxmlformats.org/officeDocument/2006/relationships/image" Target="../media/image58.png"/><Relationship Id="rId35" Type="http://schemas.openxmlformats.org/officeDocument/2006/relationships/image" Target="../media/image63.png"/><Relationship Id="rId43" Type="http://schemas.openxmlformats.org/officeDocument/2006/relationships/image" Target="../media/image71.png"/><Relationship Id="rId48" Type="http://schemas.openxmlformats.org/officeDocument/2006/relationships/image" Target="../media/image76.png"/><Relationship Id="rId8" Type="http://schemas.openxmlformats.org/officeDocument/2006/relationships/image" Target="../media/image36.png"/><Relationship Id="rId51" Type="http://schemas.openxmlformats.org/officeDocument/2006/relationships/image" Target="../media/image79.png"/><Relationship Id="rId3" Type="http://schemas.openxmlformats.org/officeDocument/2006/relationships/image" Target="../media/image31.png"/><Relationship Id="rId12" Type="http://schemas.openxmlformats.org/officeDocument/2006/relationships/image" Target="../media/image40.png"/><Relationship Id="rId17" Type="http://schemas.openxmlformats.org/officeDocument/2006/relationships/image" Target="../media/image45.png"/><Relationship Id="rId25" Type="http://schemas.openxmlformats.org/officeDocument/2006/relationships/image" Target="../media/image53.png"/><Relationship Id="rId33" Type="http://schemas.openxmlformats.org/officeDocument/2006/relationships/image" Target="../media/image61.png"/><Relationship Id="rId38" Type="http://schemas.openxmlformats.org/officeDocument/2006/relationships/image" Target="../media/image66.png"/><Relationship Id="rId46" Type="http://schemas.openxmlformats.org/officeDocument/2006/relationships/image" Target="../media/image74.png"/><Relationship Id="rId20" Type="http://schemas.openxmlformats.org/officeDocument/2006/relationships/image" Target="../media/image48.png"/><Relationship Id="rId41" Type="http://schemas.openxmlformats.org/officeDocument/2006/relationships/image" Target="../media/image69.png"/><Relationship Id="rId1" Type="http://schemas.openxmlformats.org/officeDocument/2006/relationships/slideMaster" Target="../slideMasters/slideMaster10.xml"/><Relationship Id="rId6" Type="http://schemas.openxmlformats.org/officeDocument/2006/relationships/image" Target="../media/image34.png"/><Relationship Id="rId15" Type="http://schemas.openxmlformats.org/officeDocument/2006/relationships/image" Target="../media/image43.png"/><Relationship Id="rId23" Type="http://schemas.openxmlformats.org/officeDocument/2006/relationships/image" Target="../media/image51.png"/><Relationship Id="rId28" Type="http://schemas.openxmlformats.org/officeDocument/2006/relationships/image" Target="../media/image56.png"/><Relationship Id="rId36" Type="http://schemas.openxmlformats.org/officeDocument/2006/relationships/image" Target="../media/image64.png"/><Relationship Id="rId49" Type="http://schemas.openxmlformats.org/officeDocument/2006/relationships/image" Target="../media/image77.pn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emf"/><Relationship Id="rId2" Type="http://schemas.openxmlformats.org/officeDocument/2006/relationships/image" Target="../media/image82.emf"/><Relationship Id="rId1" Type="http://schemas.openxmlformats.org/officeDocument/2006/relationships/slideMaster" Target="../slideMasters/slideMaster10.xml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emf"/><Relationship Id="rId2" Type="http://schemas.openxmlformats.org/officeDocument/2006/relationships/image" Target="../media/image82.emf"/><Relationship Id="rId1" Type="http://schemas.openxmlformats.org/officeDocument/2006/relationships/slideMaster" Target="../slideMasters/slideMaster10.xml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emf"/><Relationship Id="rId2" Type="http://schemas.openxmlformats.org/officeDocument/2006/relationships/image" Target="../media/image82.emf"/><Relationship Id="rId1" Type="http://schemas.openxmlformats.org/officeDocument/2006/relationships/slideMaster" Target="../slideMasters/slideMaster10.xml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4.jpeg"/><Relationship Id="rId1" Type="http://schemas.openxmlformats.org/officeDocument/2006/relationships/slideMaster" Target="../slideMasters/slideMaster10.xml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4.jpeg"/><Relationship Id="rId1" Type="http://schemas.openxmlformats.org/officeDocument/2006/relationships/slideMaster" Target="../slideMasters/slideMaster10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5.png"/><Relationship Id="rId1" Type="http://schemas.openxmlformats.org/officeDocument/2006/relationships/slideMaster" Target="../slideMasters/slideMaster10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0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0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6.png"/><Relationship Id="rId1" Type="http://schemas.openxmlformats.org/officeDocument/2006/relationships/slideMaster" Target="../slideMasters/slideMaster11.xml"/></Relationships>
</file>

<file path=ppt/slideLayouts/_rels/slideLayout2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7.png"/><Relationship Id="rId1" Type="http://schemas.openxmlformats.org/officeDocument/2006/relationships/slideMaster" Target="../slideMasters/slideMaster11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1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9.png"/><Relationship Id="rId4" Type="http://schemas.microsoft.com/office/2007/relationships/hdphoto" Target="../media/hdphoto1.wdp"/></Relationships>
</file>

<file path=ppt/slideLayouts/_rels/slideLayout4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053355" y="6572606"/>
            <a:ext cx="738051" cy="148869"/>
          </a:xfrm>
          <a:prstGeom prst="rect">
            <a:avLst/>
          </a:prstGeom>
        </p:spPr>
        <p:txBody>
          <a:bodyPr/>
          <a:lstStyle/>
          <a:p>
            <a:fld id="{27E05BFB-5438-4B30-80F1-D818097254A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04934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69240" y="1189176"/>
            <a:ext cx="11655840" cy="2018835"/>
          </a:xfrm>
        </p:spPr>
        <p:txBody>
          <a:bodyPr/>
          <a:lstStyle>
            <a:lvl1pPr marL="0" indent="0">
              <a:buNone/>
              <a:defRPr/>
            </a:lvl1pPr>
            <a:lvl2pPr marL="28012" indent="0">
              <a:buNone/>
              <a:defRPr sz="1961"/>
            </a:lvl2pPr>
            <a:lvl3pPr marL="219428" indent="0">
              <a:buNone/>
              <a:defRPr sz="1961"/>
            </a:lvl3pPr>
            <a:lvl4pPr marL="466868" indent="0">
              <a:buNone/>
              <a:defRPr sz="1765"/>
            </a:lvl4pPr>
            <a:lvl5pPr marL="725201" indent="0">
              <a:buNone/>
              <a:defRPr sz="1765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1435058"/>
      </p:ext>
    </p:extLst>
  </p:cSld>
  <p:clrMapOvr>
    <a:masterClrMapping/>
  </p:clrMapOvr>
  <p:transition>
    <p:fade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78951" y="2109543"/>
            <a:ext cx="10240453" cy="997196"/>
          </a:xfrm>
          <a:prstGeom prst="rect">
            <a:avLst/>
          </a:prstGeom>
        </p:spPr>
        <p:txBody>
          <a:bodyPr lIns="91306" tIns="45654" rIns="91306" bIns="45654" anchor="b" anchorCtr="0"/>
          <a:lstStyle>
            <a:lvl1pPr>
              <a:defRPr sz="7198" spc="-150" baseline="0"/>
            </a:lvl1pPr>
          </a:lstStyle>
          <a:p>
            <a:r>
              <a:rPr lang="en-US" dirty="0"/>
              <a:t>Click to edit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978951" y="3425828"/>
            <a:ext cx="10240453" cy="498599"/>
          </a:xfrm>
          <a:prstGeom prst="rect">
            <a:avLst/>
          </a:prstGeom>
        </p:spPr>
        <p:txBody>
          <a:bodyPr lIns="91306" tIns="45654" rIns="91306" bIns="45654">
            <a:noAutofit/>
          </a:bodyPr>
          <a:lstStyle>
            <a:lvl1pPr marL="0" indent="0">
              <a:spcBef>
                <a:spcPts val="0"/>
              </a:spcBef>
              <a:buNone/>
              <a:defRPr spc="-71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666588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 Purpl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78951" y="2109543"/>
            <a:ext cx="10240453" cy="997196"/>
          </a:xfrm>
          <a:prstGeom prst="rect">
            <a:avLst/>
          </a:prstGeom>
        </p:spPr>
        <p:txBody>
          <a:bodyPr lIns="91306" tIns="45654" rIns="91306" bIns="45654" anchor="b" anchorCtr="0"/>
          <a:lstStyle>
            <a:lvl1pPr>
              <a:defRPr sz="7198" spc="-150" baseline="0"/>
            </a:lvl1pPr>
          </a:lstStyle>
          <a:p>
            <a:r>
              <a:rPr lang="en-US" dirty="0"/>
              <a:t>Click to edit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978951" y="3425828"/>
            <a:ext cx="10240453" cy="498599"/>
          </a:xfrm>
          <a:prstGeom prst="rect">
            <a:avLst/>
          </a:prstGeom>
        </p:spPr>
        <p:txBody>
          <a:bodyPr lIns="91306" tIns="45654" rIns="91306" bIns="45654">
            <a:noAutofit/>
          </a:bodyPr>
          <a:lstStyle>
            <a:lvl1pPr marL="0" indent="0">
              <a:spcBef>
                <a:spcPts val="0"/>
              </a:spcBef>
              <a:buNone/>
              <a:defRPr spc="-71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346749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unchy Slide Cya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9250" y="2819606"/>
            <a:ext cx="11151917" cy="1218795"/>
          </a:xfrm>
          <a:prstGeom prst="rect">
            <a:avLst/>
          </a:prstGeom>
        </p:spPr>
        <p:txBody>
          <a:bodyPr lIns="91306" tIns="45654" rIns="91306" bIns="45654" anchor="b" anchorCtr="0"/>
          <a:lstStyle>
            <a:lvl1pPr>
              <a:defRPr sz="8798" spc="-3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title style</a:t>
            </a:r>
          </a:p>
        </p:txBody>
      </p:sp>
    </p:spTree>
    <p:extLst>
      <p:ext uri="{BB962C8B-B14F-4D97-AF65-F5344CB8AC3E}">
        <p14:creationId xmlns:p14="http://schemas.microsoft.com/office/powerpoint/2010/main" val="2713006332"/>
      </p:ext>
    </p:extLst>
  </p:cSld>
  <p:clrMapOvr>
    <a:masterClrMapping/>
  </p:clrMapOvr>
  <p:transition>
    <p:fade/>
  </p:transition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unchy Slide Orang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9250" y="2819606"/>
            <a:ext cx="11151917" cy="1218795"/>
          </a:xfrm>
          <a:prstGeom prst="rect">
            <a:avLst/>
          </a:prstGeom>
        </p:spPr>
        <p:txBody>
          <a:bodyPr lIns="91306" tIns="45654" rIns="91306" bIns="45654" anchor="b" anchorCtr="0"/>
          <a:lstStyle>
            <a:lvl1pPr>
              <a:defRPr sz="8798" spc="-3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title style</a:t>
            </a:r>
          </a:p>
        </p:txBody>
      </p:sp>
    </p:spTree>
    <p:extLst>
      <p:ext uri="{BB962C8B-B14F-4D97-AF65-F5344CB8AC3E}">
        <p14:creationId xmlns:p14="http://schemas.microsoft.com/office/powerpoint/2010/main" val="1398806811"/>
      </p:ext>
    </p:extLst>
  </p:cSld>
  <p:clrMapOvr>
    <a:masterClrMapping/>
  </p:clrMapOvr>
  <p:transition>
    <p:fade/>
  </p:transition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unchy Slide Gree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9250" y="2819606"/>
            <a:ext cx="11151917" cy="1218795"/>
          </a:xfrm>
          <a:prstGeom prst="rect">
            <a:avLst/>
          </a:prstGeom>
        </p:spPr>
        <p:txBody>
          <a:bodyPr lIns="91306" tIns="45654" rIns="91306" bIns="45654" anchor="b" anchorCtr="0"/>
          <a:lstStyle>
            <a:lvl1pPr>
              <a:defRPr sz="8798" spc="-3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title style</a:t>
            </a:r>
          </a:p>
        </p:txBody>
      </p:sp>
    </p:spTree>
    <p:extLst>
      <p:ext uri="{BB962C8B-B14F-4D97-AF65-F5344CB8AC3E}">
        <p14:creationId xmlns:p14="http://schemas.microsoft.com/office/powerpoint/2010/main" val="457267859"/>
      </p:ext>
    </p:extLst>
  </p:cSld>
  <p:clrMapOvr>
    <a:masterClrMapping/>
  </p:clrMapOvr>
  <p:transition>
    <p:fade/>
  </p:transition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unchy Slide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9250" y="2819606"/>
            <a:ext cx="11151917" cy="1218795"/>
          </a:xfrm>
          <a:prstGeom prst="rect">
            <a:avLst/>
          </a:prstGeom>
        </p:spPr>
        <p:txBody>
          <a:bodyPr lIns="91306" tIns="45654" rIns="91306" bIns="45654" anchor="b" anchorCtr="0"/>
          <a:lstStyle>
            <a:lvl1pPr>
              <a:defRPr sz="8798" spc="-3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title style</a:t>
            </a:r>
          </a:p>
        </p:txBody>
      </p:sp>
    </p:spTree>
    <p:extLst>
      <p:ext uri="{BB962C8B-B14F-4D97-AF65-F5344CB8AC3E}">
        <p14:creationId xmlns:p14="http://schemas.microsoft.com/office/powerpoint/2010/main" val="3268832868"/>
      </p:ext>
    </p:extLst>
  </p:cSld>
  <p:clrMapOvr>
    <a:masterClrMapping/>
  </p:clrMapOvr>
  <p:transition>
    <p:fade/>
  </p:transition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unchy Slide Purpl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9250" y="2819606"/>
            <a:ext cx="11151917" cy="1218795"/>
          </a:xfrm>
          <a:prstGeom prst="rect">
            <a:avLst/>
          </a:prstGeom>
        </p:spPr>
        <p:txBody>
          <a:bodyPr lIns="91306" tIns="45654" rIns="91306" bIns="45654" anchor="b" anchorCtr="0"/>
          <a:lstStyle>
            <a:lvl1pPr>
              <a:defRPr sz="8798" spc="-3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title style</a:t>
            </a:r>
          </a:p>
        </p:txBody>
      </p:sp>
    </p:spTree>
    <p:extLst>
      <p:ext uri="{BB962C8B-B14F-4D97-AF65-F5344CB8AC3E}">
        <p14:creationId xmlns:p14="http://schemas.microsoft.com/office/powerpoint/2010/main" val="3569064609"/>
      </p:ext>
    </p:extLst>
  </p:cSld>
  <p:clrMapOvr>
    <a:masterClrMapping/>
  </p:clrMapOvr>
  <p:transition>
    <p:fade/>
  </p:transition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 Cya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95753707"/>
      </p:ext>
    </p:extLst>
  </p:cSld>
  <p:clrMapOvr>
    <a:masterClrMapping/>
  </p:clrMapOvr>
  <p:transition>
    <p:fade/>
  </p:transition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 Orang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57680663"/>
      </p:ext>
    </p:extLst>
  </p:cSld>
  <p:clrMapOvr>
    <a:masterClrMapping/>
  </p:clrMapOvr>
  <p:transition>
    <p:fade/>
  </p:transition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 Gree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904378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184808"/>
          </a:xfrm>
        </p:spPr>
        <p:txBody>
          <a:bodyPr>
            <a:spAutoFit/>
          </a:bodyPr>
          <a:lstStyle>
            <a:lvl3pPr>
              <a:defRPr sz="2353"/>
            </a:lvl3pPr>
            <a:lvl4pPr>
              <a:defRPr sz="1961"/>
            </a:lvl4pPr>
            <a:lvl5pPr>
              <a:defRPr sz="1961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19578819"/>
      </p:ext>
    </p:extLst>
  </p:cSld>
  <p:clrMapOvr>
    <a:masterClrMapping/>
  </p:clrMapOvr>
  <p:transition>
    <p:fade/>
  </p:transition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01390783"/>
      </p:ext>
    </p:extLst>
  </p:cSld>
  <p:clrMapOvr>
    <a:masterClrMapping/>
  </p:clrMapOvr>
  <p:transition>
    <p:fade/>
  </p:transition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 Purpl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05926104"/>
      </p:ext>
    </p:extLst>
  </p:cSld>
  <p:clrMapOvr>
    <a:masterClrMapping/>
  </p:clrMapOvr>
  <p:transition>
    <p:fade/>
  </p:transition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white">
          <a:xfrm>
            <a:off x="520837" y="228603"/>
            <a:ext cx="11155094" cy="664797"/>
          </a:xfrm>
          <a:prstGeom prst="rect">
            <a:avLst/>
          </a:prstGeom>
        </p:spPr>
        <p:txBody>
          <a:bodyPr/>
          <a:lstStyle>
            <a:lvl1pPr>
              <a:defRPr sz="4800" baseline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519250" y="1447799"/>
            <a:ext cx="11151917" cy="2043636"/>
          </a:xfrm>
          <a:prstGeom prst="rect">
            <a:avLst/>
          </a:prstGeom>
        </p:spPr>
        <p:txBody>
          <a:bodyPr/>
          <a:lstStyle>
            <a:lvl1pPr marL="342332" indent="-342332">
              <a:buClr>
                <a:srgbClr val="FFFFFF"/>
              </a:buClr>
              <a:buSzPct val="90000"/>
              <a:buFont typeface="Arial" pitchFamily="34" charset="0"/>
              <a:buChar char="•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627607" indent="-285276">
              <a:buClr>
                <a:srgbClr val="FFFFFF"/>
              </a:buClr>
              <a:buSzPct val="90000"/>
              <a:buFont typeface="Arial" pitchFamily="34" charset="0"/>
              <a:buChar char="•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912883" indent="-285276">
              <a:buClr>
                <a:srgbClr val="FFFFFF"/>
              </a:buClr>
              <a:buSzPct val="90000"/>
              <a:buFont typeface="Arial" pitchFamily="34" charset="0"/>
              <a:buChar char="•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141104" indent="-228221">
              <a:buClr>
                <a:srgbClr val="FFFFFF"/>
              </a:buClr>
              <a:buSzPct val="90000"/>
              <a:buFont typeface="Arial" pitchFamily="34" charset="0"/>
              <a:buChar char="•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69325" indent="-228221">
              <a:buClr>
                <a:srgbClr val="FFFFFF"/>
              </a:buClr>
              <a:buSzPct val="90000"/>
              <a:buFont typeface="Arial" pitchFamily="34" charset="0"/>
              <a:buChar char="•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" y="6238878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2171" tIns="76085" rIns="152171" bIns="76085" anchor="b" anchorCtr="0">
            <a:noAutofit/>
          </a:bodyPr>
          <a:lstStyle>
            <a:lvl1pPr algn="r">
              <a:buFont typeface="Arial" pitchFamily="34" charset="0"/>
              <a:buNone/>
              <a:defRPr sz="36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</p:spTree>
    <p:extLst>
      <p:ext uri="{BB962C8B-B14F-4D97-AF65-F5344CB8AC3E}">
        <p14:creationId xmlns:p14="http://schemas.microsoft.com/office/powerpoint/2010/main" val="2150715512"/>
      </p:ext>
    </p:extLst>
  </p:cSld>
  <p:clrMapOvr>
    <a:masterClrMapping/>
  </p:clrMapOvr>
  <p:transition>
    <p:fade/>
  </p:transition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Content w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9249" y="228601"/>
            <a:ext cx="11151917" cy="747897"/>
          </a:xfrm>
          <a:prstGeom prst="rect">
            <a:avLst/>
          </a:prstGeom>
        </p:spPr>
        <p:txBody>
          <a:bodyPr/>
          <a:lstStyle>
            <a:lvl1pPr>
              <a:defRPr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19249" y="1447799"/>
            <a:ext cx="11151917" cy="2043636"/>
          </a:xfrm>
          <a:prstGeom prst="rect">
            <a:avLst/>
          </a:prstGeom>
        </p:spPr>
        <p:txBody>
          <a:bodyPr/>
          <a:lstStyle>
            <a:lvl1pPr marL="284109" indent="-284109">
              <a:buFont typeface="Wingdings" pitchFamily="2" charset="2"/>
              <a:buChar char=""/>
              <a:defRPr sz="4000"/>
            </a:lvl1pPr>
            <a:lvl2pPr marL="517426" indent="-233318">
              <a:buFont typeface="Wingdings" pitchFamily="2" charset="2"/>
              <a:buChar char=""/>
              <a:defRPr>
                <a:latin typeface="+mn-lt"/>
              </a:defRPr>
            </a:lvl2pPr>
            <a:lvl3pPr marL="741221" indent="-223795">
              <a:buFont typeface="Wingdings" pitchFamily="2" charset="2"/>
              <a:buChar char=""/>
              <a:tabLst/>
              <a:defRPr>
                <a:latin typeface="+mn-lt"/>
              </a:defRPr>
            </a:lvl3pPr>
            <a:lvl4pPr marL="914225" indent="-173004">
              <a:buFont typeface="Wingdings" pitchFamily="2" charset="2"/>
              <a:buChar char=""/>
              <a:defRPr>
                <a:latin typeface="+mn-lt"/>
              </a:defRPr>
            </a:lvl4pPr>
            <a:lvl5pPr marL="1087229" indent="-173004">
              <a:buFont typeface="Wingdings" pitchFamily="2" charset="2"/>
              <a:buChar char=""/>
              <a:tabLst/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305783" y="6142288"/>
            <a:ext cx="1600254" cy="548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7612634"/>
      </p:ext>
    </p:extLst>
  </p:cSld>
  <p:clrMapOvr>
    <a:masterClrMapping/>
  </p:clrMapOvr>
  <p:transition>
    <p:fade/>
  </p:transition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228602"/>
            <a:ext cx="11176000" cy="443198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8000" y="1447799"/>
            <a:ext cx="11176000" cy="18774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5512242"/>
      </p:ext>
    </p:extLst>
  </p:cSld>
  <p:clrMapOvr>
    <a:masterClrMapping/>
  </p:clrMapOvr>
  <p:transition>
    <p:fade/>
  </p:transition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ontent Page (Blue_Empt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24" y="860"/>
            <a:ext cx="12192127" cy="6856285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>
          <a:xfrm>
            <a:off x="5787660" y="6488703"/>
            <a:ext cx="616812" cy="2492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2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62CC3E-48DD-4274-8616-D549FD7B2C15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A4D7F4"/>
                </a:solidFill>
                <a:effectLst/>
                <a:uLnTx/>
                <a:uFillTx/>
                <a:latin typeface="Segoe UI"/>
                <a:ea typeface="Verdana" pitchFamily="34" charset="0"/>
                <a:cs typeface="Verdana" pitchFamily="34" charset="0"/>
              </a:rPr>
              <a:pPr marL="0" marR="0" lvl="0" indent="0" algn="ctr" defTabSz="9142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A4D7F4"/>
              </a:solidFill>
              <a:effectLst/>
              <a:uLnTx/>
              <a:uFillTx/>
              <a:latin typeface="Segoe UI"/>
              <a:ea typeface="Verdana" pitchFamily="34" charset="0"/>
              <a:cs typeface="Verdana" pitchFamily="34" charset="0"/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1953" y="6582940"/>
            <a:ext cx="2901696" cy="75828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>
          <a:xfrm>
            <a:off x="9781903" y="133321"/>
            <a:ext cx="2003150" cy="2335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2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Microsoft Confidential</a:t>
            </a: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22544" y="6506791"/>
            <a:ext cx="1828800" cy="228133"/>
          </a:xfrm>
          <a:prstGeom prst="rect">
            <a:avLst/>
          </a:prstGeom>
        </p:spPr>
      </p:pic>
      <p:sp>
        <p:nvSpPr>
          <p:cNvPr id="18" name="Title 1"/>
          <p:cNvSpPr>
            <a:spLocks noGrp="1"/>
          </p:cNvSpPr>
          <p:nvPr>
            <p:ph type="title" hasCustomPrompt="1"/>
          </p:nvPr>
        </p:nvSpPr>
        <p:spPr>
          <a:xfrm>
            <a:off x="519250" y="360404"/>
            <a:ext cx="11151917" cy="509171"/>
          </a:xfrm>
          <a:prstGeom prst="rect">
            <a:avLst/>
          </a:prstGeom>
        </p:spPr>
        <p:txBody>
          <a:bodyPr anchor="t"/>
          <a:lstStyle>
            <a:lvl1pPr>
              <a:defRPr sz="3200" b="0">
                <a:solidFill>
                  <a:schemeClr val="bg1"/>
                </a:solidFill>
                <a:latin typeface="Segoe UI Light" pitchFamily="34" charset="0"/>
              </a:defRPr>
            </a:lvl1pPr>
          </a:lstStyle>
          <a:p>
            <a:r>
              <a:rPr lang="en-US" dirty="0"/>
              <a:t>Click to edit Master title style 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4"/>
          </p:nvPr>
        </p:nvSpPr>
        <p:spPr>
          <a:xfrm>
            <a:off x="519568" y="869576"/>
            <a:ext cx="11132862" cy="276999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tabLst>
                <a:tab pos="628529" algn="l"/>
              </a:tabLst>
              <a:defRPr sz="1800" b="0">
                <a:solidFill>
                  <a:srgbClr val="A4D7F4"/>
                </a:solidFill>
                <a:latin typeface="Segoe UI Light" pitchFamily="34" charset="0"/>
                <a:ea typeface="Verdana" pitchFamily="34" charset="0"/>
                <a:cs typeface="Verdana" pitchFamily="34" charset="0"/>
              </a:defRPr>
            </a:lvl1pPr>
            <a:lvl2pPr marL="457112" indent="0">
              <a:buNone/>
              <a:defRPr sz="2000" b="1"/>
            </a:lvl2pPr>
            <a:lvl3pPr marL="914225" indent="0">
              <a:buNone/>
              <a:defRPr sz="1800" b="1"/>
            </a:lvl3pPr>
            <a:lvl4pPr marL="1371337" indent="0">
              <a:buNone/>
              <a:defRPr sz="1600" b="1"/>
            </a:lvl4pPr>
            <a:lvl5pPr marL="1828449" indent="0">
              <a:buNone/>
              <a:defRPr sz="1600" b="1"/>
            </a:lvl5pPr>
            <a:lvl6pPr marL="2285561" indent="0">
              <a:buNone/>
              <a:defRPr sz="1600" b="1"/>
            </a:lvl6pPr>
            <a:lvl7pPr marL="2742674" indent="0">
              <a:buNone/>
              <a:defRPr sz="1600" b="1"/>
            </a:lvl7pPr>
            <a:lvl8pPr marL="3199785" indent="0">
              <a:buNone/>
              <a:defRPr sz="1600" b="1"/>
            </a:lvl8pPr>
            <a:lvl9pPr marL="3656897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05926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Content, 2-color, 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19250" y="1447801"/>
            <a:ext cx="11151917" cy="1975927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2396"/>
              </a:spcBef>
              <a:buNone/>
              <a:defRPr sz="400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0" indent="0">
              <a:buNone/>
              <a:defRPr sz="2000">
                <a:gradFill>
                  <a:gsLst>
                    <a:gs pos="100000">
                      <a:schemeClr val="bg2"/>
                    </a:gs>
                    <a:gs pos="6000">
                      <a:schemeClr val="bg2"/>
                    </a:gs>
                  </a:gsLst>
                  <a:lin ang="5400000" scaled="0"/>
                </a:gradFill>
              </a:defRPr>
            </a:lvl2pPr>
            <a:lvl3pPr marL="231390" indent="0">
              <a:buNone/>
              <a:defRPr sz="2000">
                <a:gradFill>
                  <a:gsLst>
                    <a:gs pos="100000">
                      <a:schemeClr val="bg2"/>
                    </a:gs>
                    <a:gs pos="6000">
                      <a:schemeClr val="bg2"/>
                    </a:gs>
                  </a:gsLst>
                  <a:lin ang="5400000" scaled="0"/>
                </a:gradFill>
              </a:defRPr>
            </a:lvl3pPr>
            <a:lvl4pPr marL="456442" indent="0">
              <a:buNone/>
              <a:defRPr sz="2000">
                <a:gradFill>
                  <a:gsLst>
                    <a:gs pos="100000">
                      <a:schemeClr val="bg2"/>
                    </a:gs>
                    <a:gs pos="6000">
                      <a:schemeClr val="bg2"/>
                    </a:gs>
                  </a:gsLst>
                  <a:lin ang="5400000" scaled="0"/>
                </a:gradFill>
              </a:defRPr>
            </a:lvl4pPr>
            <a:lvl5pPr marL="692588" indent="0">
              <a:buNone/>
              <a:defRPr sz="2000">
                <a:gradFill>
                  <a:gsLst>
                    <a:gs pos="100000">
                      <a:schemeClr val="bg2"/>
                    </a:gs>
                    <a:gs pos="6000">
                      <a:schemeClr val="bg2"/>
                    </a:gs>
                  </a:gsLst>
                  <a:lin ang="5400000" scaled="0"/>
                </a:gra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19250" y="228602"/>
            <a:ext cx="11151917" cy="747897"/>
          </a:xfrm>
          <a:prstGeom prst="rect">
            <a:avLst/>
          </a:prstGeom>
        </p:spPr>
        <p:txBody>
          <a:bodyPr/>
          <a:lstStyle>
            <a:lvl1pPr>
              <a:defRPr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9"/>
          <p:cNvSpPr>
            <a:spLocks noGrp="1"/>
          </p:cNvSpPr>
          <p:nvPr>
            <p:ph type="sldNum" sz="quarter" idx="12"/>
          </p:nvPr>
        </p:nvSpPr>
        <p:spPr>
          <a:xfrm>
            <a:off x="520836" y="6399557"/>
            <a:ext cx="560832" cy="219456"/>
          </a:xfrm>
          <a:prstGeom prst="rect">
            <a:avLst/>
          </a:prstGeom>
        </p:spPr>
        <p:txBody>
          <a:bodyPr lIns="121720" tIns="60860" rIns="121720" bIns="60860" anchor="ctr"/>
          <a:lstStyle>
            <a:lvl1pPr algn="l">
              <a:defRPr sz="1600">
                <a:gradFill>
                  <a:gsLst>
                    <a:gs pos="100000">
                      <a:schemeClr val="bg2"/>
                    </a:gs>
                    <a:gs pos="0">
                      <a:schemeClr val="bg2"/>
                    </a:gs>
                  </a:gsLst>
                  <a:lin ang="5400000" scaled="0"/>
                </a:gradFill>
              </a:defRPr>
            </a:lvl1pPr>
          </a:lstStyle>
          <a:p>
            <a:pPr defTabSz="912847"/>
            <a:fld id="{727B4C2D-45E2-4621-8491-2995EB46A674}" type="slidenum">
              <a:rPr lang="en-US" smtClean="0">
                <a:gradFill>
                  <a:gsLst>
                    <a:gs pos="100000">
                      <a:srgbClr val="797A7D"/>
                    </a:gs>
                    <a:gs pos="0">
                      <a:srgbClr val="797A7D"/>
                    </a:gs>
                  </a:gsLst>
                  <a:lin ang="5400000" scaled="0"/>
                </a:gradFill>
              </a:rPr>
              <a:pPr defTabSz="912847"/>
              <a:t>‹#›</a:t>
            </a:fld>
            <a:endParaRPr lang="en-US" dirty="0">
              <a:gradFill>
                <a:gsLst>
                  <a:gs pos="100000">
                    <a:srgbClr val="797A7D"/>
                  </a:gs>
                  <a:gs pos="0">
                    <a:srgbClr val="797A7D"/>
                  </a:gs>
                </a:gsLst>
                <a:lin ang="5400000" scaled="0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4256302871"/>
      </p:ext>
    </p:extLst>
  </p:cSld>
  <p:clrMapOvr>
    <a:masterClrMapping/>
  </p:clrMapOvr>
  <p:transition>
    <p:fade/>
  </p:transition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78949" y="2109542"/>
            <a:ext cx="10240454" cy="997196"/>
          </a:xfrm>
          <a:prstGeom prst="rect">
            <a:avLst/>
          </a:prstGeom>
        </p:spPr>
        <p:txBody>
          <a:bodyPr anchor="b" anchorCtr="0"/>
          <a:lstStyle>
            <a:lvl1pPr>
              <a:defRPr sz="7198" spc="-150" baseline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978949" y="3425825"/>
            <a:ext cx="10240454" cy="49859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pc="-70" baseline="0">
                <a:gradFill>
                  <a:gsLst>
                    <a:gs pos="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Title</a:t>
            </a:r>
          </a:p>
        </p:txBody>
      </p:sp>
    </p:spTree>
    <p:extLst>
      <p:ext uri="{BB962C8B-B14F-4D97-AF65-F5344CB8AC3E}">
        <p14:creationId xmlns:p14="http://schemas.microsoft.com/office/powerpoint/2010/main" val="3319857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9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297498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9388710" y="6536996"/>
            <a:ext cx="2742188" cy="19164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76">
                <a:solidFill>
                  <a:schemeClr val="tx1"/>
                </a:solidFill>
              </a:defRPr>
            </a:lvl1pPr>
          </a:lstStyle>
          <a:p>
            <a:fld id="{181750B2-C378-4896-80E6-341FDC8E0FED}" type="slidenum">
              <a:rPr lang="en-IN" smtClean="0">
                <a:solidFill>
                  <a:srgbClr val="505050"/>
                </a:solidFill>
              </a:rPr>
              <a:pPr/>
              <a:t>‹#›</a:t>
            </a:fld>
            <a:endParaRPr lang="en-IN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8498572"/>
      </p:ext>
    </p:extLst>
  </p:cSld>
  <p:clrMapOvr>
    <a:masterClrMapping/>
  </p:clrMapOvr>
  <p:transition>
    <p:fade/>
  </p:transition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3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9388710" y="6536996"/>
            <a:ext cx="2742188" cy="19164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76">
                <a:solidFill>
                  <a:schemeClr val="tx1"/>
                </a:solidFill>
              </a:defRPr>
            </a:lvl1pPr>
          </a:lstStyle>
          <a:p>
            <a:fld id="{181750B2-C378-4896-80E6-341FDC8E0FED}" type="slidenum">
              <a:rPr lang="en-IN" smtClean="0">
                <a:solidFill>
                  <a:srgbClr val="FFFFFF"/>
                </a:solidFill>
              </a:rPr>
              <a:pPr/>
              <a:t>‹#›</a:t>
            </a:fld>
            <a:endParaRPr lang="en-IN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12807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248978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9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48978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9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4496024"/>
      </p:ext>
    </p:extLst>
  </p:cSld>
  <p:clrMapOvr>
    <a:masterClrMapping/>
  </p:clrMapOvr>
  <p:transition>
    <p:fade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ection Title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464" t="103" r="20084" b="240"/>
          <a:stretch/>
        </p:blipFill>
        <p:spPr>
          <a:xfrm flipH="1">
            <a:off x="6095999" y="533"/>
            <a:ext cx="3047811" cy="3436783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859" r="20063" b="721"/>
          <a:stretch/>
        </p:blipFill>
        <p:spPr>
          <a:xfrm>
            <a:off x="9158784" y="0"/>
            <a:ext cx="3061893" cy="3428480"/>
          </a:xfrm>
          <a:prstGeom prst="rect">
            <a:avLst/>
          </a:prstGeom>
        </p:spPr>
      </p:pic>
      <p:pic>
        <p:nvPicPr>
          <p:cNvPr id="5" name="Picture 4" descr="advocacy.jp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5999" y="3421217"/>
            <a:ext cx="3062785" cy="3436783"/>
          </a:xfrm>
          <a:prstGeom prst="rect">
            <a:avLst/>
          </a:prstGeom>
        </p:spPr>
      </p:pic>
      <p:pic>
        <p:nvPicPr>
          <p:cNvPr id="6" name="Picture 5" descr="Purchase.jpg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29215" y="3421217"/>
            <a:ext cx="3062785" cy="34367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43233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9726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971745-886A-4932-8FDC-F3000C4EA022}" type="datetimeFigureOut">
              <a:rPr lang="en-US" smtClean="0"/>
              <a:t>12/19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A1C54D-7940-44F0-9BFA-CA981B3A8F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0583515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78951" y="2109543"/>
            <a:ext cx="10240453" cy="997196"/>
          </a:xfrm>
        </p:spPr>
        <p:txBody>
          <a:bodyPr anchor="b" anchorCtr="0"/>
          <a:lstStyle>
            <a:lvl1pPr>
              <a:defRPr sz="7198" spc="-150" baseline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978951" y="3425828"/>
            <a:ext cx="10240453" cy="498599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pc="-71" baseline="0">
                <a:gradFill>
                  <a:gsLst>
                    <a:gs pos="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Title</a:t>
            </a:r>
          </a:p>
        </p:txBody>
      </p:sp>
    </p:spTree>
    <p:extLst>
      <p:ext uri="{BB962C8B-B14F-4D97-AF65-F5344CB8AC3E}">
        <p14:creationId xmlns:p14="http://schemas.microsoft.com/office/powerpoint/2010/main" val="2853533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9250" y="2819606"/>
            <a:ext cx="11151917" cy="1218795"/>
          </a:xfrm>
        </p:spPr>
        <p:txBody>
          <a:bodyPr anchor="b" anchorCtr="0"/>
          <a:lstStyle>
            <a:lvl1pPr>
              <a:defRPr sz="8798" spc="-300" baseline="0">
                <a:gradFill>
                  <a:gsLst>
                    <a:gs pos="100000">
                      <a:schemeClr val="bg1"/>
                    </a:gs>
                    <a:gs pos="0">
                      <a:schemeClr val="bg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title style</a:t>
            </a:r>
          </a:p>
        </p:txBody>
      </p:sp>
      <p:pic>
        <p:nvPicPr>
          <p:cNvPr id="3074" name="Picture 2" descr="C:\Users\hannahr\Desktop\ShrPt_h_rgb_r.png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400926" y="5129216"/>
            <a:ext cx="3125013" cy="1038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3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353890" y="6151698"/>
            <a:ext cx="1609762" cy="537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185982708"/>
      </p:ext>
    </p:extLst>
  </p:cSld>
  <p:clrMapOvr>
    <a:masterClrMapping/>
  </p:clrMapOvr>
  <p:transition>
    <p:fade/>
  </p:transition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, Video etc. &quot;special&quot; sl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73394" y="4343402"/>
            <a:ext cx="10240453" cy="461665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lang="en-US" sz="3600" kern="1200" spc="-71" baseline="0" dirty="0">
                <a:gradFill>
                  <a:gsLst>
                    <a:gs pos="2083">
                      <a:schemeClr val="bg2"/>
                    </a:gs>
                    <a:gs pos="99000">
                      <a:schemeClr val="bg2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4564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28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92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56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21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85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4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13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284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973392" y="2739679"/>
            <a:ext cx="10248394" cy="1378644"/>
          </a:xfrm>
        </p:spPr>
        <p:txBody>
          <a:bodyPr anchor="ctr" anchorCtr="0">
            <a:noAutofit/>
            <a:scene3d>
              <a:camera prst="orthographicFront"/>
              <a:lightRig rig="flat" dir="t"/>
            </a:scene3d>
            <a:sp3d>
              <a:contourClr>
                <a:schemeClr val="tx2"/>
              </a:contourClr>
            </a:sp3d>
          </a:bodyPr>
          <a:lstStyle>
            <a:lvl1pPr marL="0" indent="0" algn="l">
              <a:spcBef>
                <a:spcPts val="0"/>
              </a:spcBef>
              <a:buFont typeface="Arial" pitchFamily="34" charset="0"/>
              <a:buNone/>
              <a:defRPr lang="en-US" sz="9598" b="0" kern="1200" cap="none" spc="-399" baseline="0" dirty="0" smtClean="0">
                <a:ln w="3175">
                  <a:noFill/>
                </a:ln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Arial" charset="0"/>
              </a:defRPr>
            </a:lvl1pPr>
          </a:lstStyle>
          <a:p>
            <a:pPr lvl="0"/>
            <a:r>
              <a:rPr lang="en-US" dirty="0"/>
              <a:t>click to…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973394" y="1447800"/>
            <a:ext cx="10240453" cy="914096"/>
          </a:xfrm>
        </p:spPr>
        <p:txBody>
          <a:bodyPr wrap="square" anchor="b">
            <a:noAutofit/>
          </a:bodyPr>
          <a:lstStyle>
            <a:lvl1pPr marL="0" indent="0">
              <a:buNone/>
              <a:defRPr sz="6698" spc="-15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764842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, 2-color, 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19250" y="1447801"/>
            <a:ext cx="11151917" cy="1975927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2396"/>
              </a:spcBef>
              <a:buNone/>
              <a:defRPr sz="400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0" indent="0">
              <a:buNone/>
              <a:defRPr sz="2000">
                <a:gradFill>
                  <a:gsLst>
                    <a:gs pos="100000">
                      <a:schemeClr val="bg2"/>
                    </a:gs>
                    <a:gs pos="6000">
                      <a:schemeClr val="bg2"/>
                    </a:gs>
                  </a:gsLst>
                  <a:lin ang="5400000" scaled="0"/>
                </a:gradFill>
              </a:defRPr>
            </a:lvl2pPr>
            <a:lvl3pPr marL="231390" indent="0">
              <a:buNone/>
              <a:defRPr sz="2000">
                <a:gradFill>
                  <a:gsLst>
                    <a:gs pos="100000">
                      <a:schemeClr val="bg2"/>
                    </a:gs>
                    <a:gs pos="6000">
                      <a:schemeClr val="bg2"/>
                    </a:gs>
                  </a:gsLst>
                  <a:lin ang="5400000" scaled="0"/>
                </a:gradFill>
              </a:defRPr>
            </a:lvl3pPr>
            <a:lvl4pPr marL="456442" indent="0">
              <a:buNone/>
              <a:defRPr sz="2000">
                <a:gradFill>
                  <a:gsLst>
                    <a:gs pos="100000">
                      <a:schemeClr val="bg2"/>
                    </a:gs>
                    <a:gs pos="6000">
                      <a:schemeClr val="bg2"/>
                    </a:gs>
                  </a:gsLst>
                  <a:lin ang="5400000" scaled="0"/>
                </a:gradFill>
              </a:defRPr>
            </a:lvl4pPr>
            <a:lvl5pPr marL="692588" indent="0">
              <a:buNone/>
              <a:defRPr sz="2000">
                <a:gradFill>
                  <a:gsLst>
                    <a:gs pos="100000">
                      <a:schemeClr val="bg2"/>
                    </a:gs>
                    <a:gs pos="6000">
                      <a:schemeClr val="bg2"/>
                    </a:gs>
                  </a:gsLst>
                  <a:lin ang="5400000" scaled="0"/>
                </a:gra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9"/>
          <p:cNvSpPr>
            <a:spLocks noGrp="1"/>
          </p:cNvSpPr>
          <p:nvPr>
            <p:ph type="sldNum" sz="quarter" idx="12"/>
          </p:nvPr>
        </p:nvSpPr>
        <p:spPr>
          <a:xfrm>
            <a:off x="520836" y="6399557"/>
            <a:ext cx="560832" cy="219456"/>
          </a:xfrm>
          <a:prstGeom prst="rect">
            <a:avLst/>
          </a:prstGeom>
        </p:spPr>
        <p:txBody>
          <a:bodyPr lIns="121720" tIns="60860" rIns="121720" bIns="60860" anchor="ctr"/>
          <a:lstStyle>
            <a:lvl1pPr algn="l">
              <a:defRPr sz="1600">
                <a:gradFill>
                  <a:gsLst>
                    <a:gs pos="100000">
                      <a:schemeClr val="bg2"/>
                    </a:gs>
                    <a:gs pos="0">
                      <a:schemeClr val="bg2"/>
                    </a:gs>
                  </a:gsLst>
                  <a:lin ang="5400000" scaled="0"/>
                </a:gradFill>
              </a:defRPr>
            </a:lvl1pPr>
          </a:lstStyle>
          <a:p>
            <a:pPr defTabSz="912847"/>
            <a:fld id="{727B4C2D-45E2-4621-8491-2995EB46A674}" type="slidenum">
              <a:rPr lang="en-US" smtClean="0">
                <a:gradFill>
                  <a:gsLst>
                    <a:gs pos="100000">
                      <a:srgbClr val="797A7D"/>
                    </a:gs>
                    <a:gs pos="0">
                      <a:srgbClr val="797A7D"/>
                    </a:gs>
                  </a:gsLst>
                  <a:lin ang="5400000" scaled="0"/>
                </a:gradFill>
              </a:rPr>
              <a:pPr defTabSz="912847"/>
              <a:t>‹#›</a:t>
            </a:fld>
            <a:endParaRPr lang="en-US" dirty="0">
              <a:gradFill>
                <a:gsLst>
                  <a:gs pos="100000">
                    <a:srgbClr val="797A7D"/>
                  </a:gs>
                  <a:gs pos="0">
                    <a:srgbClr val="797A7D"/>
                  </a:gs>
                </a:gsLst>
                <a:lin ang="5400000" scaled="0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1006727638"/>
      </p:ext>
    </p:extLst>
  </p:cSld>
  <p:clrMapOvr>
    <a:masterClrMapping/>
  </p:clrMapOvr>
  <p:transition>
    <p:fade/>
  </p:transition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, 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19250" y="1447801"/>
            <a:ext cx="11151917" cy="1975927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2396"/>
              </a:spcBef>
              <a:buNone/>
              <a:defRPr sz="4000">
                <a:gradFill>
                  <a:gsLst>
                    <a:gs pos="100000">
                      <a:schemeClr val="bg2"/>
                    </a:gs>
                    <a:gs pos="0">
                      <a:schemeClr val="bg2"/>
                    </a:gs>
                  </a:gsLst>
                  <a:lin ang="5400000" scaled="0"/>
                </a:gradFill>
                <a:latin typeface="+mj-lt"/>
              </a:defRPr>
            </a:lvl1pPr>
            <a:lvl2pPr marL="0" indent="0">
              <a:buNone/>
              <a:defRPr sz="2000">
                <a:gradFill>
                  <a:gsLst>
                    <a:gs pos="100000">
                      <a:schemeClr val="bg2"/>
                    </a:gs>
                    <a:gs pos="0">
                      <a:schemeClr val="bg2"/>
                    </a:gs>
                  </a:gsLst>
                  <a:lin ang="5400000" scaled="0"/>
                </a:gradFill>
              </a:defRPr>
            </a:lvl2pPr>
            <a:lvl3pPr marL="231390" indent="0">
              <a:buNone/>
              <a:defRPr sz="2000">
                <a:gradFill>
                  <a:gsLst>
                    <a:gs pos="100000">
                      <a:schemeClr val="bg2"/>
                    </a:gs>
                    <a:gs pos="0">
                      <a:schemeClr val="bg2"/>
                    </a:gs>
                  </a:gsLst>
                  <a:lin ang="5400000" scaled="0"/>
                </a:gradFill>
              </a:defRPr>
            </a:lvl3pPr>
            <a:lvl4pPr marL="456442" indent="0">
              <a:buNone/>
              <a:defRPr sz="2000">
                <a:gradFill>
                  <a:gsLst>
                    <a:gs pos="100000">
                      <a:schemeClr val="bg2"/>
                    </a:gs>
                    <a:gs pos="0">
                      <a:schemeClr val="bg2"/>
                    </a:gs>
                  </a:gsLst>
                  <a:lin ang="5400000" scaled="0"/>
                </a:gradFill>
              </a:defRPr>
            </a:lvl4pPr>
            <a:lvl5pPr marL="692588" indent="0">
              <a:buNone/>
              <a:defRPr sz="2000">
                <a:gradFill>
                  <a:gsLst>
                    <a:gs pos="100000">
                      <a:schemeClr val="bg2"/>
                    </a:gs>
                    <a:gs pos="0">
                      <a:schemeClr val="bg2"/>
                    </a:gs>
                  </a:gsLst>
                  <a:lin ang="5400000" scaled="0"/>
                </a:gra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9"/>
          <p:cNvSpPr>
            <a:spLocks noGrp="1"/>
          </p:cNvSpPr>
          <p:nvPr>
            <p:ph type="sldNum" sz="quarter" idx="12"/>
          </p:nvPr>
        </p:nvSpPr>
        <p:spPr>
          <a:xfrm>
            <a:off x="520836" y="6399557"/>
            <a:ext cx="560832" cy="219456"/>
          </a:xfrm>
          <a:prstGeom prst="rect">
            <a:avLst/>
          </a:prstGeom>
        </p:spPr>
        <p:txBody>
          <a:bodyPr lIns="121720" tIns="60860" rIns="121720" bIns="60860" anchor="ctr"/>
          <a:lstStyle>
            <a:lvl1pPr algn="l">
              <a:defRPr sz="1600">
                <a:gradFill>
                  <a:gsLst>
                    <a:gs pos="100000">
                      <a:schemeClr val="bg2"/>
                    </a:gs>
                    <a:gs pos="0">
                      <a:schemeClr val="bg2"/>
                    </a:gs>
                  </a:gsLst>
                  <a:lin ang="5400000" scaled="0"/>
                </a:gradFill>
              </a:defRPr>
            </a:lvl1pPr>
          </a:lstStyle>
          <a:p>
            <a:pPr defTabSz="912847"/>
            <a:fld id="{727B4C2D-45E2-4621-8491-2995EB46A674}" type="slidenum">
              <a:rPr lang="en-US" smtClean="0">
                <a:gradFill>
                  <a:gsLst>
                    <a:gs pos="100000">
                      <a:srgbClr val="797A7D"/>
                    </a:gs>
                    <a:gs pos="0">
                      <a:srgbClr val="797A7D"/>
                    </a:gs>
                  </a:gsLst>
                  <a:lin ang="5400000" scaled="0"/>
                </a:gradFill>
              </a:rPr>
              <a:pPr defTabSz="912847"/>
              <a:t>‹#›</a:t>
            </a:fld>
            <a:endParaRPr lang="en-US" dirty="0">
              <a:gradFill>
                <a:gsLst>
                  <a:gs pos="100000">
                    <a:srgbClr val="797A7D"/>
                  </a:gs>
                  <a:gs pos="0">
                    <a:srgbClr val="797A7D"/>
                  </a:gs>
                </a:gsLst>
                <a:lin ang="5400000" scaled="0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4265040357"/>
      </p:ext>
    </p:extLst>
  </p:cSld>
  <p:clrMapOvr>
    <a:masterClrMapping/>
  </p:clrMapOvr>
  <p:transition>
    <p:fade/>
  </p:transition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w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9250" y="228602"/>
            <a:ext cx="11151917" cy="747897"/>
          </a:xfrm>
        </p:spPr>
        <p:txBody>
          <a:bodyPr/>
          <a:lstStyle>
            <a:lvl1pPr>
              <a:defRPr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19250" y="1447799"/>
            <a:ext cx="11151917" cy="2043636"/>
          </a:xfrm>
          <a:prstGeom prst="rect">
            <a:avLst/>
          </a:prstGeom>
        </p:spPr>
        <p:txBody>
          <a:bodyPr/>
          <a:lstStyle>
            <a:lvl1pPr marL="283693" indent="-283693">
              <a:buFont typeface="Wingdings" pitchFamily="2" charset="2"/>
              <a:buChar char=""/>
              <a:defRPr sz="4000"/>
            </a:lvl1pPr>
            <a:lvl2pPr marL="516668" indent="-232976">
              <a:buFont typeface="Wingdings" pitchFamily="2" charset="2"/>
              <a:buChar char=""/>
              <a:defRPr>
                <a:latin typeface="+mn-lt"/>
              </a:defRPr>
            </a:lvl2pPr>
            <a:lvl3pPr marL="740132" indent="-223467">
              <a:buFont typeface="Wingdings" pitchFamily="2" charset="2"/>
              <a:buChar char=""/>
              <a:tabLst/>
              <a:defRPr>
                <a:latin typeface="+mn-lt"/>
              </a:defRPr>
            </a:lvl3pPr>
            <a:lvl4pPr marL="912883" indent="-172750">
              <a:buFont typeface="Wingdings" pitchFamily="2" charset="2"/>
              <a:buChar char=""/>
              <a:defRPr>
                <a:latin typeface="+mn-lt"/>
              </a:defRPr>
            </a:lvl4pPr>
            <a:lvl5pPr marL="1085634" indent="-172750">
              <a:buFont typeface="Wingdings" pitchFamily="2" charset="2"/>
              <a:buChar char=""/>
              <a:tabLst/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9"/>
          <p:cNvSpPr>
            <a:spLocks noGrp="1"/>
          </p:cNvSpPr>
          <p:nvPr>
            <p:ph type="sldNum" sz="quarter" idx="12"/>
          </p:nvPr>
        </p:nvSpPr>
        <p:spPr>
          <a:xfrm>
            <a:off x="520836" y="6399557"/>
            <a:ext cx="560832" cy="219456"/>
          </a:xfrm>
          <a:prstGeom prst="rect">
            <a:avLst/>
          </a:prstGeom>
        </p:spPr>
        <p:txBody>
          <a:bodyPr lIns="121720" tIns="60860" rIns="121720" bIns="60860" anchor="ctr"/>
          <a:lstStyle>
            <a:lvl1pPr algn="l">
              <a:defRPr sz="1600">
                <a:gradFill>
                  <a:gsLst>
                    <a:gs pos="100000">
                      <a:schemeClr val="bg2"/>
                    </a:gs>
                    <a:gs pos="0">
                      <a:schemeClr val="bg2"/>
                    </a:gs>
                  </a:gsLst>
                  <a:lin ang="5400000" scaled="0"/>
                </a:gradFill>
              </a:defRPr>
            </a:lvl1pPr>
          </a:lstStyle>
          <a:p>
            <a:pPr defTabSz="912847"/>
            <a:fld id="{727B4C2D-45E2-4621-8491-2995EB46A674}" type="slidenum">
              <a:rPr lang="en-US" smtClean="0">
                <a:gradFill>
                  <a:gsLst>
                    <a:gs pos="100000">
                      <a:srgbClr val="797A7D"/>
                    </a:gs>
                    <a:gs pos="0">
                      <a:srgbClr val="797A7D"/>
                    </a:gs>
                  </a:gsLst>
                  <a:lin ang="5400000" scaled="0"/>
                </a:gradFill>
              </a:rPr>
              <a:pPr defTabSz="912847"/>
              <a:t>‹#›</a:t>
            </a:fld>
            <a:endParaRPr lang="en-US" dirty="0">
              <a:gradFill>
                <a:gsLst>
                  <a:gs pos="100000">
                    <a:srgbClr val="797A7D"/>
                  </a:gs>
                  <a:gs pos="0">
                    <a:srgbClr val="797A7D"/>
                  </a:gs>
                </a:gsLst>
                <a:lin ang="5400000" scaled="0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440023970"/>
      </p:ext>
    </p:extLst>
  </p:cSld>
  <p:clrMapOvr>
    <a:masterClrMapping/>
  </p:clrMapOvr>
  <p:transition>
    <p:fade/>
  </p:transition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ntent, 2-color, 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520838" y="1447802"/>
            <a:ext cx="5396365" cy="2462213"/>
          </a:xfrm>
        </p:spPr>
        <p:txBody>
          <a:bodyPr/>
          <a:lstStyle>
            <a:lvl1pPr marL="0" indent="0">
              <a:spcBef>
                <a:spcPts val="1198"/>
              </a:spcBef>
              <a:buNone/>
              <a:defRPr sz="400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0" indent="0">
              <a:buNone/>
              <a:defRPr sz="2000"/>
            </a:lvl2pPr>
            <a:lvl3pPr marL="232976" indent="0">
              <a:buNone/>
              <a:defRPr sz="2000"/>
            </a:lvl3pPr>
            <a:lvl4pPr marL="456442" indent="0">
              <a:buNone/>
              <a:defRPr sz="2000"/>
            </a:lvl4pPr>
            <a:lvl5pPr marL="692588" indent="0">
              <a:buNone/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6279565" y="1447802"/>
            <a:ext cx="5396365" cy="2462213"/>
          </a:xfrm>
        </p:spPr>
        <p:txBody>
          <a:bodyPr/>
          <a:lstStyle>
            <a:lvl1pPr marL="0" indent="0">
              <a:spcBef>
                <a:spcPts val="1198"/>
              </a:spcBef>
              <a:buNone/>
              <a:defRPr lang="en-US" sz="4000" kern="1200" spc="-71" baseline="0" dirty="0" smtClean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3170" marR="0" indent="0" algn="l" defTabSz="91284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2000" kern="1200" spc="-71" baseline="0" dirty="0" smtClean="0">
                <a:gradFill>
                  <a:gsLst>
                    <a:gs pos="1250">
                      <a:schemeClr val="bg2"/>
                    </a:gs>
                    <a:gs pos="100000">
                      <a:schemeClr val="bg2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232976" marR="0" indent="0" algn="l" defTabSz="91284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2000" kern="1200" spc="-71" baseline="0" dirty="0" smtClean="0">
                <a:gradFill>
                  <a:gsLst>
                    <a:gs pos="1250">
                      <a:schemeClr val="bg2"/>
                    </a:gs>
                    <a:gs pos="100000">
                      <a:schemeClr val="bg2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459611" marR="0" indent="0" algn="l" defTabSz="91284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2000" kern="1200" spc="-71" baseline="0" dirty="0" smtClean="0">
                <a:gradFill>
                  <a:gsLst>
                    <a:gs pos="1250">
                      <a:schemeClr val="bg2"/>
                    </a:gs>
                    <a:gs pos="100000">
                      <a:schemeClr val="bg2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686248" marR="0" indent="0" algn="l" defTabSz="91284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2000" kern="1200" spc="-71" baseline="0" dirty="0">
                <a:gradFill>
                  <a:gsLst>
                    <a:gs pos="1250">
                      <a:schemeClr val="bg2"/>
                    </a:gs>
                    <a:gs pos="100000">
                      <a:schemeClr val="bg2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0" marR="0" lvl="0" indent="0" algn="l" defTabSz="91284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/>
              <a:t>Click to edit Master text styles</a:t>
            </a:r>
          </a:p>
          <a:p>
            <a:pPr marL="0" marR="0" lvl="1" indent="0" algn="l" defTabSz="91284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/>
              <a:t>Second level</a:t>
            </a:r>
          </a:p>
          <a:p>
            <a:pPr marL="0" marR="0" lvl="2" indent="0" algn="l" defTabSz="91284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/>
              <a:t>Third level</a:t>
            </a:r>
          </a:p>
          <a:p>
            <a:pPr marL="0" marR="0" lvl="3" indent="0" algn="l" defTabSz="91284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/>
              <a:t>Fourth level</a:t>
            </a:r>
          </a:p>
          <a:p>
            <a:pPr marL="0" marR="0" lvl="4" indent="0" algn="l" defTabSz="91284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9"/>
          <p:cNvSpPr>
            <a:spLocks noGrp="1"/>
          </p:cNvSpPr>
          <p:nvPr>
            <p:ph type="sldNum" sz="quarter" idx="13"/>
          </p:nvPr>
        </p:nvSpPr>
        <p:spPr>
          <a:xfrm>
            <a:off x="520836" y="6399557"/>
            <a:ext cx="560832" cy="219456"/>
          </a:xfrm>
          <a:prstGeom prst="rect">
            <a:avLst/>
          </a:prstGeom>
        </p:spPr>
        <p:txBody>
          <a:bodyPr lIns="121720" tIns="60860" rIns="121720" bIns="60860" anchor="ctr"/>
          <a:lstStyle>
            <a:lvl1pPr algn="l">
              <a:defRPr sz="1600">
                <a:gradFill>
                  <a:gsLst>
                    <a:gs pos="100000">
                      <a:schemeClr val="bg2"/>
                    </a:gs>
                    <a:gs pos="0">
                      <a:schemeClr val="bg2"/>
                    </a:gs>
                  </a:gsLst>
                  <a:lin ang="5400000" scaled="0"/>
                </a:gradFill>
              </a:defRPr>
            </a:lvl1pPr>
          </a:lstStyle>
          <a:p>
            <a:pPr defTabSz="912847"/>
            <a:fld id="{727B4C2D-45E2-4621-8491-2995EB46A674}" type="slidenum">
              <a:rPr lang="en-US" smtClean="0">
                <a:gradFill>
                  <a:gsLst>
                    <a:gs pos="100000">
                      <a:srgbClr val="797A7D"/>
                    </a:gs>
                    <a:gs pos="0">
                      <a:srgbClr val="797A7D"/>
                    </a:gs>
                  </a:gsLst>
                  <a:lin ang="5400000" scaled="0"/>
                </a:gradFill>
              </a:rPr>
              <a:pPr defTabSz="912847"/>
              <a:t>‹#›</a:t>
            </a:fld>
            <a:endParaRPr lang="en-US" dirty="0">
              <a:gradFill>
                <a:gsLst>
                  <a:gs pos="100000">
                    <a:srgbClr val="797A7D"/>
                  </a:gs>
                  <a:gs pos="0">
                    <a:srgbClr val="797A7D"/>
                  </a:gs>
                </a:gsLst>
                <a:lin ang="5400000" scaled="0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1824711753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2556149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3529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556149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3529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2293530"/>
      </p:ext>
    </p:extLst>
  </p:cSld>
  <p:clrMapOvr>
    <a:masterClrMapping/>
  </p:clrMapOvr>
  <p:transition>
    <p:fade/>
  </p:transition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ntent, 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520838" y="1447802"/>
            <a:ext cx="5396365" cy="2462213"/>
          </a:xfrm>
        </p:spPr>
        <p:txBody>
          <a:bodyPr/>
          <a:lstStyle>
            <a:lvl1pPr marL="0" indent="0">
              <a:spcBef>
                <a:spcPts val="1198"/>
              </a:spcBef>
              <a:buNone/>
              <a:defRPr sz="4000">
                <a:gradFill>
                  <a:gsLst>
                    <a:gs pos="1000">
                      <a:schemeClr val="bg2"/>
                    </a:gs>
                    <a:gs pos="98000">
                      <a:schemeClr val="bg2"/>
                    </a:gs>
                  </a:gsLst>
                  <a:lin ang="5400000" scaled="0"/>
                </a:gradFill>
                <a:latin typeface="+mj-lt"/>
              </a:defRPr>
            </a:lvl1pPr>
            <a:lvl2pPr marL="0" indent="0">
              <a:buNone/>
              <a:defRPr sz="2000">
                <a:gradFill>
                  <a:gsLst>
                    <a:gs pos="1000">
                      <a:schemeClr val="bg2"/>
                    </a:gs>
                    <a:gs pos="98000">
                      <a:schemeClr val="bg2"/>
                    </a:gs>
                  </a:gsLst>
                  <a:lin ang="5400000" scaled="0"/>
                </a:gradFill>
              </a:defRPr>
            </a:lvl2pPr>
            <a:lvl3pPr marL="232976" indent="0">
              <a:buNone/>
              <a:defRPr sz="2000">
                <a:gradFill>
                  <a:gsLst>
                    <a:gs pos="1000">
                      <a:schemeClr val="bg2"/>
                    </a:gs>
                    <a:gs pos="98000">
                      <a:schemeClr val="bg2"/>
                    </a:gs>
                  </a:gsLst>
                  <a:lin ang="5400000" scaled="0"/>
                </a:gradFill>
              </a:defRPr>
            </a:lvl3pPr>
            <a:lvl4pPr marL="456442" indent="0">
              <a:buNone/>
              <a:defRPr sz="2000">
                <a:gradFill>
                  <a:gsLst>
                    <a:gs pos="1000">
                      <a:schemeClr val="bg2"/>
                    </a:gs>
                    <a:gs pos="98000">
                      <a:schemeClr val="bg2"/>
                    </a:gs>
                  </a:gsLst>
                  <a:lin ang="5400000" scaled="0"/>
                </a:gradFill>
              </a:defRPr>
            </a:lvl4pPr>
            <a:lvl5pPr marL="692588" indent="0">
              <a:buNone/>
              <a:defRPr sz="2000">
                <a:gradFill>
                  <a:gsLst>
                    <a:gs pos="1000">
                      <a:schemeClr val="bg2"/>
                    </a:gs>
                    <a:gs pos="98000">
                      <a:schemeClr val="bg2"/>
                    </a:gs>
                  </a:gsLst>
                  <a:lin ang="5400000" scaled="0"/>
                </a:gra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6279565" y="1447802"/>
            <a:ext cx="5396365" cy="2462213"/>
          </a:xfrm>
        </p:spPr>
        <p:txBody>
          <a:bodyPr/>
          <a:lstStyle>
            <a:lvl1pPr marL="0" indent="0">
              <a:spcBef>
                <a:spcPts val="1198"/>
              </a:spcBef>
              <a:buNone/>
              <a:defRPr lang="en-US" sz="4000" kern="1200" spc="-71" baseline="0" dirty="0" smtClean="0">
                <a:gradFill>
                  <a:gsLst>
                    <a:gs pos="1000">
                      <a:schemeClr val="bg2"/>
                    </a:gs>
                    <a:gs pos="98000">
                      <a:schemeClr val="bg2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3170" marR="0" indent="0" algn="l" defTabSz="91284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2000" kern="1200" spc="-71" baseline="0" dirty="0" smtClean="0">
                <a:gradFill>
                  <a:gsLst>
                    <a:gs pos="1000">
                      <a:schemeClr val="bg2"/>
                    </a:gs>
                    <a:gs pos="98000">
                      <a:schemeClr val="bg2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232976" marR="0" indent="0" algn="l" defTabSz="91284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2000" kern="1200" spc="-71" baseline="0" dirty="0" smtClean="0">
                <a:gradFill>
                  <a:gsLst>
                    <a:gs pos="1000">
                      <a:schemeClr val="bg2"/>
                    </a:gs>
                    <a:gs pos="98000">
                      <a:schemeClr val="bg2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459611" marR="0" indent="0" algn="l" defTabSz="91284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2000" kern="1200" spc="-71" baseline="0" dirty="0" smtClean="0">
                <a:gradFill>
                  <a:gsLst>
                    <a:gs pos="1000">
                      <a:schemeClr val="bg2"/>
                    </a:gs>
                    <a:gs pos="98000">
                      <a:schemeClr val="bg2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686248" marR="0" indent="0" algn="l" defTabSz="91284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2000" kern="1200" spc="-71" baseline="0" dirty="0">
                <a:gradFill>
                  <a:gsLst>
                    <a:gs pos="1000">
                      <a:schemeClr val="bg2"/>
                    </a:gs>
                    <a:gs pos="98000">
                      <a:schemeClr val="bg2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0" marR="0" lvl="0" indent="0" algn="l" defTabSz="91284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/>
              <a:t>Click to edit Master text styles</a:t>
            </a:r>
          </a:p>
          <a:p>
            <a:pPr marL="0" marR="0" lvl="1" indent="0" algn="l" defTabSz="91284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/>
              <a:t>Second level</a:t>
            </a:r>
          </a:p>
          <a:p>
            <a:pPr marL="0" marR="0" lvl="2" indent="0" algn="l" defTabSz="91284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/>
              <a:t>Third level</a:t>
            </a:r>
          </a:p>
          <a:p>
            <a:pPr marL="0" marR="0" lvl="3" indent="0" algn="l" defTabSz="91284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/>
              <a:t>Fourth level</a:t>
            </a:r>
          </a:p>
          <a:p>
            <a:pPr marL="0" marR="0" lvl="4" indent="0" algn="l" defTabSz="91284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9"/>
          <p:cNvSpPr>
            <a:spLocks noGrp="1"/>
          </p:cNvSpPr>
          <p:nvPr>
            <p:ph type="sldNum" sz="quarter" idx="13"/>
          </p:nvPr>
        </p:nvSpPr>
        <p:spPr>
          <a:xfrm>
            <a:off x="520836" y="6399557"/>
            <a:ext cx="560832" cy="219456"/>
          </a:xfrm>
          <a:prstGeom prst="rect">
            <a:avLst/>
          </a:prstGeom>
        </p:spPr>
        <p:txBody>
          <a:bodyPr lIns="121720" tIns="60860" rIns="121720" bIns="60860" anchor="ctr"/>
          <a:lstStyle>
            <a:lvl1pPr algn="l">
              <a:defRPr sz="1600">
                <a:gradFill>
                  <a:gsLst>
                    <a:gs pos="100000">
                      <a:schemeClr val="bg2"/>
                    </a:gs>
                    <a:gs pos="0">
                      <a:schemeClr val="bg2"/>
                    </a:gs>
                  </a:gsLst>
                  <a:lin ang="5400000" scaled="0"/>
                </a:gradFill>
              </a:defRPr>
            </a:lvl1pPr>
          </a:lstStyle>
          <a:p>
            <a:pPr defTabSz="912847"/>
            <a:fld id="{727B4C2D-45E2-4621-8491-2995EB46A674}" type="slidenum">
              <a:rPr lang="en-US" smtClean="0">
                <a:gradFill>
                  <a:gsLst>
                    <a:gs pos="100000">
                      <a:srgbClr val="797A7D"/>
                    </a:gs>
                    <a:gs pos="0">
                      <a:srgbClr val="797A7D"/>
                    </a:gs>
                  </a:gsLst>
                  <a:lin ang="5400000" scaled="0"/>
                </a:gradFill>
              </a:rPr>
              <a:pPr defTabSz="912847"/>
              <a:t>‹#›</a:t>
            </a:fld>
            <a:endParaRPr lang="en-US" dirty="0">
              <a:gradFill>
                <a:gsLst>
                  <a:gs pos="100000">
                    <a:srgbClr val="797A7D"/>
                  </a:gs>
                  <a:gs pos="0">
                    <a:srgbClr val="797A7D"/>
                  </a:gs>
                </a:gsLst>
                <a:lin ang="5400000" scaled="0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3960998148"/>
      </p:ext>
    </p:extLst>
  </p:cSld>
  <p:clrMapOvr>
    <a:masterClrMapping/>
  </p:clrMapOvr>
  <p:transition>
    <p:fade/>
  </p:transition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ntent w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20838" y="1447801"/>
            <a:ext cx="5396365" cy="2351413"/>
          </a:xfrm>
        </p:spPr>
        <p:txBody>
          <a:bodyPr>
            <a:spAutoFit/>
          </a:bodyPr>
          <a:lstStyle>
            <a:lvl1pPr marL="291615" indent="-291615">
              <a:spcBef>
                <a:spcPts val="1198"/>
              </a:spcBef>
              <a:buClr>
                <a:schemeClr val="bg2"/>
              </a:buClr>
              <a:buSzPct val="100000"/>
              <a:buFont typeface="Wingdings" pitchFamily="2" charset="2"/>
              <a:buChar char=""/>
              <a:defRPr lang="en-US" sz="3600" kern="1200" spc="-71" baseline="0" dirty="0" smtClean="0">
                <a:gradFill>
                  <a:gsLst>
                    <a:gs pos="1250">
                      <a:schemeClr val="bg2"/>
                    </a:gs>
                    <a:gs pos="100000">
                      <a:schemeClr val="bg2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19836" indent="-228221">
              <a:defRPr sz="2000"/>
            </a:lvl2pPr>
            <a:lvl3pPr marL="684663" indent="-164827">
              <a:tabLst/>
              <a:defRPr sz="2000"/>
            </a:lvl3pPr>
            <a:lvl4pPr marL="862167" indent="-177505">
              <a:defRPr/>
            </a:lvl4pPr>
            <a:lvl5pPr marL="1026994" indent="-164827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6279565" y="1447802"/>
            <a:ext cx="5396365" cy="2762808"/>
          </a:xfrm>
        </p:spPr>
        <p:txBody>
          <a:bodyPr>
            <a:spAutoFit/>
          </a:bodyPr>
          <a:lstStyle>
            <a:lvl1pPr marL="339162" indent="-339162">
              <a:spcBef>
                <a:spcPts val="1198"/>
              </a:spcBef>
              <a:buClr>
                <a:schemeClr val="bg2"/>
              </a:buClr>
              <a:buFont typeface="Arial" pitchFamily="34" charset="0"/>
              <a:buChar char="•"/>
              <a:defRPr lang="en-US" sz="3600" kern="1200" spc="-71" baseline="0" dirty="0" smtClean="0">
                <a:gradFill>
                  <a:gsLst>
                    <a:gs pos="1250">
                      <a:schemeClr val="bg2"/>
                    </a:gs>
                    <a:gs pos="100000">
                      <a:schemeClr val="bg2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633947" indent="-342332">
              <a:defRPr lang="en-US" sz="2000" kern="1200" spc="0" baseline="0" dirty="0" smtClean="0">
                <a:gradFill>
                  <a:gsLst>
                    <a:gs pos="1250">
                      <a:schemeClr val="bg2"/>
                    </a:gs>
                    <a:gs pos="100000">
                      <a:schemeClr val="bg2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862167" indent="-342332">
              <a:defRPr lang="en-US" sz="2000" kern="1200" spc="0" baseline="0" dirty="0" smtClean="0">
                <a:gradFill>
                  <a:gsLst>
                    <a:gs pos="1250">
                      <a:schemeClr val="bg2"/>
                    </a:gs>
                    <a:gs pos="100000">
                      <a:schemeClr val="bg2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026994" indent="-342332">
              <a:defRPr lang="en-US" sz="2000" kern="1200" spc="0" baseline="0" dirty="0" smtClean="0">
                <a:gradFill>
                  <a:gsLst>
                    <a:gs pos="1250">
                      <a:schemeClr val="bg2"/>
                    </a:gs>
                    <a:gs pos="100000">
                      <a:schemeClr val="bg2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04500" indent="-342332">
              <a:defRPr lang="en-US" sz="2000" kern="1200" spc="0" baseline="0" dirty="0">
                <a:gradFill>
                  <a:gsLst>
                    <a:gs pos="1250">
                      <a:schemeClr val="bg2"/>
                    </a:gs>
                    <a:gs pos="100000">
                      <a:schemeClr val="bg2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291615" marR="0" lvl="0" indent="-291615" algn="l" defTabSz="912847" rtl="0" eaLnBrk="1" fontAlgn="auto" latinLnBrk="0" hangingPunct="1">
              <a:lnSpc>
                <a:spcPct val="90000"/>
              </a:lnSpc>
              <a:spcBef>
                <a:spcPts val="1198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Wingdings" pitchFamily="2" charset="2"/>
              <a:buChar char=""/>
              <a:tabLst/>
            </a:pPr>
            <a:r>
              <a:rPr lang="en-US"/>
              <a:t>Click to edit Master text styles</a:t>
            </a:r>
          </a:p>
          <a:p>
            <a:pPr marL="291615" marR="0" lvl="1" indent="-291615" algn="l" defTabSz="912847" rtl="0" eaLnBrk="1" fontAlgn="auto" latinLnBrk="0" hangingPunct="1">
              <a:lnSpc>
                <a:spcPct val="90000"/>
              </a:lnSpc>
              <a:spcBef>
                <a:spcPts val="1198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Wingdings" pitchFamily="2" charset="2"/>
              <a:buChar char=""/>
              <a:tabLst/>
            </a:pPr>
            <a:r>
              <a:rPr lang="en-US"/>
              <a:t>Second level</a:t>
            </a:r>
          </a:p>
          <a:p>
            <a:pPr marL="291615" marR="0" lvl="2" indent="-291615" algn="l" defTabSz="912847" rtl="0" eaLnBrk="1" fontAlgn="auto" latinLnBrk="0" hangingPunct="1">
              <a:lnSpc>
                <a:spcPct val="90000"/>
              </a:lnSpc>
              <a:spcBef>
                <a:spcPts val="1198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Wingdings" pitchFamily="2" charset="2"/>
              <a:buChar char=""/>
              <a:tabLst/>
            </a:pPr>
            <a:r>
              <a:rPr lang="en-US"/>
              <a:t>Third level</a:t>
            </a:r>
          </a:p>
          <a:p>
            <a:pPr marL="291615" marR="0" lvl="3" indent="-291615" algn="l" defTabSz="912847" rtl="0" eaLnBrk="1" fontAlgn="auto" latinLnBrk="0" hangingPunct="1">
              <a:lnSpc>
                <a:spcPct val="90000"/>
              </a:lnSpc>
              <a:spcBef>
                <a:spcPts val="1198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Wingdings" pitchFamily="2" charset="2"/>
              <a:buChar char=""/>
              <a:tabLst/>
            </a:pPr>
            <a:r>
              <a:rPr lang="en-US"/>
              <a:t>Fourth level</a:t>
            </a:r>
          </a:p>
          <a:p>
            <a:pPr marL="291615" marR="0" lvl="4" indent="-291615" algn="l" defTabSz="912847" rtl="0" eaLnBrk="1" fontAlgn="auto" latinLnBrk="0" hangingPunct="1">
              <a:lnSpc>
                <a:spcPct val="90000"/>
              </a:lnSpc>
              <a:spcBef>
                <a:spcPts val="1198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Wingdings" pitchFamily="2" charset="2"/>
              <a:buChar char=""/>
              <a:tabLst/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9"/>
          <p:cNvSpPr>
            <a:spLocks noGrp="1"/>
          </p:cNvSpPr>
          <p:nvPr>
            <p:ph type="sldNum" sz="quarter" idx="12"/>
          </p:nvPr>
        </p:nvSpPr>
        <p:spPr>
          <a:xfrm>
            <a:off x="520836" y="6399557"/>
            <a:ext cx="560832" cy="219456"/>
          </a:xfrm>
          <a:prstGeom prst="rect">
            <a:avLst/>
          </a:prstGeom>
        </p:spPr>
        <p:txBody>
          <a:bodyPr lIns="121720" tIns="60860" rIns="121720" bIns="60860" anchor="ctr"/>
          <a:lstStyle>
            <a:lvl1pPr algn="l">
              <a:defRPr sz="1600">
                <a:gradFill>
                  <a:gsLst>
                    <a:gs pos="100000">
                      <a:schemeClr val="bg2"/>
                    </a:gs>
                    <a:gs pos="0">
                      <a:schemeClr val="bg2"/>
                    </a:gs>
                  </a:gsLst>
                  <a:lin ang="5400000" scaled="0"/>
                </a:gradFill>
              </a:defRPr>
            </a:lvl1pPr>
          </a:lstStyle>
          <a:p>
            <a:pPr defTabSz="912847"/>
            <a:fld id="{727B4C2D-45E2-4621-8491-2995EB46A674}" type="slidenum">
              <a:rPr lang="en-US" smtClean="0">
                <a:gradFill>
                  <a:gsLst>
                    <a:gs pos="100000">
                      <a:srgbClr val="797A7D"/>
                    </a:gs>
                    <a:gs pos="0">
                      <a:srgbClr val="797A7D"/>
                    </a:gs>
                  </a:gsLst>
                  <a:lin ang="5400000" scaled="0"/>
                </a:gradFill>
              </a:rPr>
              <a:pPr defTabSz="912847"/>
              <a:t>‹#›</a:t>
            </a:fld>
            <a:endParaRPr lang="en-US" dirty="0">
              <a:gradFill>
                <a:gsLst>
                  <a:gs pos="100000">
                    <a:srgbClr val="797A7D"/>
                  </a:gs>
                  <a:gs pos="0">
                    <a:srgbClr val="797A7D"/>
                  </a:gs>
                </a:gsLst>
                <a:lin ang="5400000" scaled="0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3036471107"/>
      </p:ext>
    </p:extLst>
  </p:cSld>
  <p:clrMapOvr>
    <a:masterClrMapping/>
  </p:clrMapOvr>
  <p:transition>
    <p:fade/>
  </p:transition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&amp; Small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20835" y="1447803"/>
            <a:ext cx="5434948" cy="166199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4000" b="0" cap="none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608482" indent="0">
              <a:buNone/>
              <a:defRPr sz="2700" b="1"/>
            </a:lvl2pPr>
            <a:lvl3pPr marL="1216965" indent="0">
              <a:buNone/>
              <a:defRPr sz="2400" b="1"/>
            </a:lvl3pPr>
            <a:lvl4pPr marL="1825447" indent="0">
              <a:buNone/>
              <a:defRPr sz="2100" b="1"/>
            </a:lvl4pPr>
            <a:lvl5pPr marL="2433930" indent="0">
              <a:buNone/>
              <a:defRPr sz="2100" b="1"/>
            </a:lvl5pPr>
            <a:lvl6pPr marL="3042413" indent="0">
              <a:buNone/>
              <a:defRPr sz="2100" b="1"/>
            </a:lvl6pPr>
            <a:lvl7pPr marL="3650895" indent="0">
              <a:buNone/>
              <a:defRPr sz="2100" b="1"/>
            </a:lvl7pPr>
            <a:lvl8pPr marL="4259376" indent="0">
              <a:buNone/>
              <a:defRPr sz="2100" b="1"/>
            </a:lvl8pPr>
            <a:lvl9pPr marL="4867860" indent="0">
              <a:buNone/>
              <a:defRPr sz="2100" b="1"/>
            </a:lvl9pPr>
          </a:lstStyle>
          <a:p>
            <a:pPr lvl="0"/>
            <a:r>
              <a:rPr lang="en-US" dirty="0"/>
              <a:t>Click to edit Master text styles.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89762" y="1681907"/>
            <a:ext cx="5486169" cy="3323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1198"/>
              </a:spcBef>
              <a:buNone/>
              <a:defRPr lang="en-US" sz="2000" kern="1200" spc="0" dirty="0" smtClean="0">
                <a:gradFill>
                  <a:gsLst>
                    <a:gs pos="100000">
                      <a:schemeClr val="bg2"/>
                    </a:gs>
                    <a:gs pos="0">
                      <a:schemeClr val="bg2"/>
                    </a:gs>
                  </a:gsLst>
                  <a:lin ang="5400000" scaled="0"/>
                </a:gradFill>
                <a:latin typeface="+mn-lt"/>
                <a:ea typeface="+mn-ea"/>
                <a:cs typeface="Segoe UI" pitchFamily="34" charset="0"/>
              </a:defRPr>
            </a:lvl1pPr>
            <a:lvl2pPr marL="912723" indent="-380301">
              <a:defRPr lang="en-US" sz="2100" kern="1200" dirty="0" smtClean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Arial" pitchFamily="34" charset="0"/>
              </a:defRPr>
            </a:lvl2pPr>
            <a:lvl3pPr marL="912723" indent="-228181">
              <a:defRPr lang="en-US" sz="1900" kern="1200" dirty="0" smtClean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Arial" pitchFamily="34" charset="0"/>
              </a:defRPr>
            </a:lvl3pPr>
            <a:lvl4pPr marL="1216965" indent="-228181">
              <a:defRPr lang="en-US" sz="1600" kern="1200" dirty="0" smtClean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Arial" pitchFamily="34" charset="0"/>
              </a:defRPr>
            </a:lvl4pPr>
            <a:lvl5pPr marL="1445146" indent="-228181">
              <a:defRPr lang="en-US" sz="1600" kern="1200" dirty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Arial" pitchFamily="34" charset="0"/>
              </a:defRPr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>
          <a:xfrm>
            <a:off x="520836" y="6399557"/>
            <a:ext cx="560832" cy="219456"/>
          </a:xfrm>
          <a:prstGeom prst="rect">
            <a:avLst/>
          </a:prstGeom>
        </p:spPr>
        <p:txBody>
          <a:bodyPr lIns="121720" tIns="60860" rIns="121720" bIns="60860" anchor="ctr"/>
          <a:lstStyle>
            <a:lvl1pPr algn="l">
              <a:defRPr sz="1600">
                <a:gradFill>
                  <a:gsLst>
                    <a:gs pos="100000">
                      <a:schemeClr val="bg2"/>
                    </a:gs>
                    <a:gs pos="0">
                      <a:schemeClr val="bg2"/>
                    </a:gs>
                  </a:gsLst>
                  <a:lin ang="5400000" scaled="0"/>
                </a:gradFill>
              </a:defRPr>
            </a:lvl1pPr>
          </a:lstStyle>
          <a:p>
            <a:pPr defTabSz="912847"/>
            <a:fld id="{727B4C2D-45E2-4621-8491-2995EB46A674}" type="slidenum">
              <a:rPr lang="en-US" smtClean="0">
                <a:gradFill>
                  <a:gsLst>
                    <a:gs pos="100000">
                      <a:srgbClr val="797A7D"/>
                    </a:gs>
                    <a:gs pos="0">
                      <a:srgbClr val="797A7D"/>
                    </a:gs>
                  </a:gsLst>
                  <a:lin ang="5400000" scaled="0"/>
                </a:gradFill>
              </a:rPr>
              <a:pPr defTabSz="912847"/>
              <a:t>‹#›</a:t>
            </a:fld>
            <a:endParaRPr lang="en-US" dirty="0">
              <a:gradFill>
                <a:gsLst>
                  <a:gs pos="100000">
                    <a:srgbClr val="797A7D"/>
                  </a:gs>
                  <a:gs pos="0">
                    <a:srgbClr val="797A7D"/>
                  </a:gs>
                </a:gsLst>
                <a:lin ang="5400000" scaled="0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982989610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/Photo on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20835" y="1447803"/>
            <a:ext cx="5434948" cy="11784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4000" b="0" cap="none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608482" indent="0">
              <a:buNone/>
              <a:defRPr sz="2700" b="1"/>
            </a:lvl2pPr>
            <a:lvl3pPr marL="1216965" indent="0">
              <a:buNone/>
              <a:defRPr sz="2400" b="1"/>
            </a:lvl3pPr>
            <a:lvl4pPr marL="1825447" indent="0">
              <a:buNone/>
              <a:defRPr sz="2100" b="1"/>
            </a:lvl4pPr>
            <a:lvl5pPr marL="2433930" indent="0">
              <a:buNone/>
              <a:defRPr sz="2100" b="1"/>
            </a:lvl5pPr>
            <a:lvl6pPr marL="3042413" indent="0">
              <a:buNone/>
              <a:defRPr sz="2100" b="1"/>
            </a:lvl6pPr>
            <a:lvl7pPr marL="3650895" indent="0">
              <a:buNone/>
              <a:defRPr sz="2100" b="1"/>
            </a:lvl7pPr>
            <a:lvl8pPr marL="4259376" indent="0">
              <a:buNone/>
              <a:defRPr sz="2100" b="1"/>
            </a:lvl8pPr>
            <a:lvl9pPr marL="4867860" indent="0">
              <a:buNone/>
              <a:defRPr sz="2100" b="1"/>
            </a:lvl9pPr>
          </a:lstStyle>
          <a:p>
            <a:pPr lvl="0"/>
            <a:r>
              <a:rPr lang="en-US" dirty="0"/>
              <a:t>Click to edit Master text styles.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>
          <a:xfrm>
            <a:off x="520836" y="6399557"/>
            <a:ext cx="560832" cy="219456"/>
          </a:xfrm>
          <a:prstGeom prst="rect">
            <a:avLst/>
          </a:prstGeom>
        </p:spPr>
        <p:txBody>
          <a:bodyPr lIns="121720" tIns="60860" rIns="121720" bIns="60860" anchor="ctr"/>
          <a:lstStyle>
            <a:lvl1pPr algn="l">
              <a:defRPr sz="1600">
                <a:gradFill>
                  <a:gsLst>
                    <a:gs pos="100000">
                      <a:schemeClr val="bg2"/>
                    </a:gs>
                    <a:gs pos="0">
                      <a:schemeClr val="bg2"/>
                    </a:gs>
                  </a:gsLst>
                  <a:lin ang="5400000" scaled="0"/>
                </a:gradFill>
              </a:defRPr>
            </a:lvl1pPr>
          </a:lstStyle>
          <a:p>
            <a:pPr defTabSz="912847"/>
            <a:fld id="{727B4C2D-45E2-4621-8491-2995EB46A674}" type="slidenum">
              <a:rPr lang="en-US" smtClean="0">
                <a:gradFill>
                  <a:gsLst>
                    <a:gs pos="100000">
                      <a:srgbClr val="797A7D"/>
                    </a:gs>
                    <a:gs pos="0">
                      <a:srgbClr val="797A7D"/>
                    </a:gs>
                  </a:gsLst>
                  <a:lin ang="5400000" scaled="0"/>
                </a:gradFill>
              </a:rPr>
              <a:pPr defTabSz="912847"/>
              <a:t>‹#›</a:t>
            </a:fld>
            <a:endParaRPr lang="en-US" dirty="0">
              <a:gradFill>
                <a:gsLst>
                  <a:gs pos="100000">
                    <a:srgbClr val="797A7D"/>
                  </a:gs>
                  <a:gs pos="0">
                    <a:srgbClr val="797A7D"/>
                  </a:gs>
                </a:gsLst>
                <a:lin ang="5400000" scaled="0"/>
              </a:gradFill>
            </a:endParaRPr>
          </a:p>
        </p:txBody>
      </p:sp>
      <p:sp>
        <p:nvSpPr>
          <p:cNvPr id="9" name="Content Placeholder 5"/>
          <p:cNvSpPr>
            <a:spLocks noGrp="1"/>
          </p:cNvSpPr>
          <p:nvPr>
            <p:ph sz="quarter" idx="13"/>
          </p:nvPr>
        </p:nvSpPr>
        <p:spPr>
          <a:xfrm>
            <a:off x="520838" y="2734988"/>
            <a:ext cx="5445583" cy="6093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1198"/>
              </a:spcBef>
              <a:buFont typeface="Arial" pitchFamily="34" charset="0"/>
              <a:buNone/>
              <a:defRPr lang="en-US" sz="2000" kern="1200" spc="0" dirty="0" smtClean="0">
                <a:gradFill>
                  <a:gsLst>
                    <a:gs pos="100000">
                      <a:schemeClr val="bg2"/>
                    </a:gs>
                    <a:gs pos="0">
                      <a:schemeClr val="bg2"/>
                    </a:gs>
                  </a:gsLst>
                  <a:lin ang="5400000" scaled="0"/>
                </a:gradFill>
                <a:latin typeface="+mn-lt"/>
                <a:ea typeface="+mn-ea"/>
                <a:cs typeface="Segoe UI" pitchFamily="34" charset="0"/>
              </a:defRPr>
            </a:lvl1pPr>
            <a:lvl2pPr marL="912723" indent="-380301">
              <a:defRPr lang="en-US" sz="2100" kern="1200" dirty="0" smtClean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Arial" pitchFamily="34" charset="0"/>
              </a:defRPr>
            </a:lvl2pPr>
            <a:lvl3pPr marL="912723" indent="-228181">
              <a:defRPr lang="en-US" sz="1900" kern="1200" dirty="0" smtClean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Arial" pitchFamily="34" charset="0"/>
              </a:defRPr>
            </a:lvl3pPr>
            <a:lvl4pPr marL="1216965" indent="-228181">
              <a:defRPr lang="en-US" sz="1600" kern="1200" dirty="0" smtClean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Arial" pitchFamily="34" charset="0"/>
              </a:defRPr>
            </a:lvl4pPr>
            <a:lvl5pPr marL="1445146" indent="-228181">
              <a:defRPr lang="en-US" sz="1600" kern="1200" dirty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Arial" pitchFamily="34" charset="0"/>
              </a:defRPr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84381803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/Photo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219711" y="1447803"/>
            <a:ext cx="5434948" cy="11784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4000" b="0" cap="none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608482" indent="0">
              <a:buNone/>
              <a:defRPr sz="2700" b="1"/>
            </a:lvl2pPr>
            <a:lvl3pPr marL="1216965" indent="0">
              <a:buNone/>
              <a:defRPr sz="2400" b="1"/>
            </a:lvl3pPr>
            <a:lvl4pPr marL="1825447" indent="0">
              <a:buNone/>
              <a:defRPr sz="2100" b="1"/>
            </a:lvl4pPr>
            <a:lvl5pPr marL="2433930" indent="0">
              <a:buNone/>
              <a:defRPr sz="2100" b="1"/>
            </a:lvl5pPr>
            <a:lvl6pPr marL="3042413" indent="0">
              <a:buNone/>
              <a:defRPr sz="2100" b="1"/>
            </a:lvl6pPr>
            <a:lvl7pPr marL="3650895" indent="0">
              <a:buNone/>
              <a:defRPr sz="2100" b="1"/>
            </a:lvl7pPr>
            <a:lvl8pPr marL="4259376" indent="0">
              <a:buNone/>
              <a:defRPr sz="2100" b="1"/>
            </a:lvl8pPr>
            <a:lvl9pPr marL="4867860" indent="0">
              <a:buNone/>
              <a:defRPr sz="2100" b="1"/>
            </a:lvl9pPr>
          </a:lstStyle>
          <a:p>
            <a:pPr lvl="0"/>
            <a:r>
              <a:rPr lang="en-US" dirty="0"/>
              <a:t>Click to edit Master text styles.</a:t>
            </a:r>
          </a:p>
        </p:txBody>
      </p:sp>
      <p:sp>
        <p:nvSpPr>
          <p:cNvPr id="9" name="Content Placeholder 5"/>
          <p:cNvSpPr>
            <a:spLocks noGrp="1"/>
          </p:cNvSpPr>
          <p:nvPr>
            <p:ph sz="quarter" idx="13"/>
          </p:nvPr>
        </p:nvSpPr>
        <p:spPr>
          <a:xfrm>
            <a:off x="6219713" y="2734988"/>
            <a:ext cx="5445583" cy="6093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1198"/>
              </a:spcBef>
              <a:buFont typeface="Arial" pitchFamily="34" charset="0"/>
              <a:buNone/>
              <a:defRPr lang="en-US" sz="2000" kern="1200" spc="0" dirty="0" smtClean="0">
                <a:gradFill>
                  <a:gsLst>
                    <a:gs pos="100000">
                      <a:schemeClr val="bg2"/>
                    </a:gs>
                    <a:gs pos="0">
                      <a:schemeClr val="bg2"/>
                    </a:gs>
                  </a:gsLst>
                  <a:lin ang="5400000" scaled="0"/>
                </a:gradFill>
                <a:latin typeface="+mn-lt"/>
                <a:ea typeface="+mn-ea"/>
                <a:cs typeface="Segoe UI" pitchFamily="34" charset="0"/>
              </a:defRPr>
            </a:lvl1pPr>
            <a:lvl2pPr marL="912723" indent="-380301">
              <a:defRPr lang="en-US" sz="2100" kern="1200" dirty="0" smtClean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Arial" pitchFamily="34" charset="0"/>
              </a:defRPr>
            </a:lvl2pPr>
            <a:lvl3pPr marL="912723" indent="-228181">
              <a:defRPr lang="en-US" sz="1900" kern="1200" dirty="0" smtClean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Arial" pitchFamily="34" charset="0"/>
              </a:defRPr>
            </a:lvl3pPr>
            <a:lvl4pPr marL="1216965" indent="-228181">
              <a:defRPr lang="en-US" sz="1600" kern="1200" dirty="0" smtClean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Arial" pitchFamily="34" charset="0"/>
              </a:defRPr>
            </a:lvl4pPr>
            <a:lvl5pPr marL="1445146" indent="-228181">
              <a:defRPr lang="en-US" sz="1600" kern="1200" dirty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Arial" pitchFamily="34" charset="0"/>
              </a:defRPr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1" y="0"/>
            <a:ext cx="5981669" cy="6858000"/>
          </a:xfrm>
        </p:spPr>
        <p:txBody>
          <a:bodyPr lIns="182611" anchor="ctr"/>
          <a:lstStyle>
            <a:lvl1pPr marL="0" indent="0" algn="l">
              <a:buNone/>
              <a:defRPr/>
            </a:lvl1pPr>
          </a:lstStyle>
          <a:p>
            <a:r>
              <a:rPr lang="en-US" dirty="0"/>
              <a:t>Click to insert photo.</a:t>
            </a:r>
          </a:p>
        </p:txBody>
      </p:sp>
    </p:spTree>
    <p:extLst>
      <p:ext uri="{BB962C8B-B14F-4D97-AF65-F5344CB8AC3E}">
        <p14:creationId xmlns:p14="http://schemas.microsoft.com/office/powerpoint/2010/main" val="799165175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Block Header on Left &amp; Text on Righ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white">
          <a:xfrm>
            <a:off x="-9525" y="0"/>
            <a:ext cx="5988023" cy="685800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648" tIns="45648" rIns="45648" bIns="456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258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20835" y="1447803"/>
            <a:ext cx="5233764" cy="166199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4000" b="0" cap="none" baseline="0">
                <a:gradFill>
                  <a:gsLst>
                    <a:gs pos="100000">
                      <a:schemeClr val="bg1"/>
                    </a:gs>
                    <a:gs pos="0">
                      <a:schemeClr val="bg1"/>
                    </a:gs>
                  </a:gsLst>
                  <a:lin ang="5400000" scaled="0"/>
                </a:gradFill>
                <a:latin typeface="+mj-lt"/>
              </a:defRPr>
            </a:lvl1pPr>
            <a:lvl2pPr marL="608482" indent="0">
              <a:buNone/>
              <a:defRPr sz="2700" b="1"/>
            </a:lvl2pPr>
            <a:lvl3pPr marL="1216965" indent="0">
              <a:buNone/>
              <a:defRPr sz="2400" b="1"/>
            </a:lvl3pPr>
            <a:lvl4pPr marL="1825447" indent="0">
              <a:buNone/>
              <a:defRPr sz="2100" b="1"/>
            </a:lvl4pPr>
            <a:lvl5pPr marL="2433930" indent="0">
              <a:buNone/>
              <a:defRPr sz="2100" b="1"/>
            </a:lvl5pPr>
            <a:lvl6pPr marL="3042413" indent="0">
              <a:buNone/>
              <a:defRPr sz="2100" b="1"/>
            </a:lvl6pPr>
            <a:lvl7pPr marL="3650895" indent="0">
              <a:buNone/>
              <a:defRPr sz="2100" b="1"/>
            </a:lvl7pPr>
            <a:lvl8pPr marL="4259376" indent="0">
              <a:buNone/>
              <a:defRPr sz="2100" b="1"/>
            </a:lvl8pPr>
            <a:lvl9pPr marL="4867860" indent="0">
              <a:buNone/>
              <a:defRPr sz="2100" b="1"/>
            </a:lvl9pPr>
          </a:lstStyle>
          <a:p>
            <a:pPr lvl="0"/>
            <a:r>
              <a:rPr lang="en-US" dirty="0"/>
              <a:t>Click to edit Master text styles.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89762" y="1681907"/>
            <a:ext cx="5486169" cy="3323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1198"/>
              </a:spcBef>
              <a:buNone/>
              <a:defRPr lang="en-US" sz="2000" kern="1200" spc="0" dirty="0" smtClean="0">
                <a:gradFill>
                  <a:gsLst>
                    <a:gs pos="100000">
                      <a:schemeClr val="bg2"/>
                    </a:gs>
                    <a:gs pos="0">
                      <a:schemeClr val="bg2"/>
                    </a:gs>
                  </a:gsLst>
                  <a:lin ang="5400000" scaled="0"/>
                </a:gradFill>
                <a:latin typeface="+mn-lt"/>
                <a:ea typeface="+mn-ea"/>
                <a:cs typeface="Segoe UI" pitchFamily="34" charset="0"/>
              </a:defRPr>
            </a:lvl1pPr>
            <a:lvl2pPr marL="912723" indent="-380301">
              <a:defRPr lang="en-US" sz="2100" kern="1200" dirty="0" smtClean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Arial" pitchFamily="34" charset="0"/>
              </a:defRPr>
            </a:lvl2pPr>
            <a:lvl3pPr marL="912723" indent="-228181">
              <a:defRPr lang="en-US" sz="1900" kern="1200" dirty="0" smtClean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Arial" pitchFamily="34" charset="0"/>
              </a:defRPr>
            </a:lvl3pPr>
            <a:lvl4pPr marL="1216965" indent="-228181">
              <a:defRPr lang="en-US" sz="1600" kern="1200" dirty="0" smtClean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Arial" pitchFamily="34" charset="0"/>
              </a:defRPr>
            </a:lvl4pPr>
            <a:lvl5pPr marL="1445146" indent="-228181">
              <a:defRPr lang="en-US" sz="1600" kern="1200" dirty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Arial" pitchFamily="34" charset="0"/>
              </a:defRPr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55034158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Block text w/Photo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 bwMode="white">
          <a:xfrm>
            <a:off x="5968968" y="0"/>
            <a:ext cx="6223032" cy="685800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648" tIns="45648" rIns="45648" bIns="456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258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219711" y="1447803"/>
            <a:ext cx="5434948" cy="11784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4000" b="0" cap="none" baseline="0">
                <a:gradFill>
                  <a:gsLst>
                    <a:gs pos="100000">
                      <a:schemeClr val="bg1"/>
                    </a:gs>
                    <a:gs pos="0">
                      <a:schemeClr val="bg1"/>
                    </a:gs>
                  </a:gsLst>
                  <a:lin ang="5400000" scaled="0"/>
                </a:gradFill>
                <a:latin typeface="+mj-lt"/>
              </a:defRPr>
            </a:lvl1pPr>
            <a:lvl2pPr marL="608482" indent="0">
              <a:buNone/>
              <a:defRPr sz="2700" b="1"/>
            </a:lvl2pPr>
            <a:lvl3pPr marL="1216965" indent="0">
              <a:buNone/>
              <a:defRPr sz="2400" b="1"/>
            </a:lvl3pPr>
            <a:lvl4pPr marL="1825447" indent="0">
              <a:buNone/>
              <a:defRPr sz="2100" b="1"/>
            </a:lvl4pPr>
            <a:lvl5pPr marL="2433930" indent="0">
              <a:buNone/>
              <a:defRPr sz="2100" b="1"/>
            </a:lvl5pPr>
            <a:lvl6pPr marL="3042413" indent="0">
              <a:buNone/>
              <a:defRPr sz="2100" b="1"/>
            </a:lvl6pPr>
            <a:lvl7pPr marL="3650895" indent="0">
              <a:buNone/>
              <a:defRPr sz="2100" b="1"/>
            </a:lvl7pPr>
            <a:lvl8pPr marL="4259376" indent="0">
              <a:buNone/>
              <a:defRPr sz="2100" b="1"/>
            </a:lvl8pPr>
            <a:lvl9pPr marL="4867860" indent="0">
              <a:buNone/>
              <a:defRPr sz="2100" b="1"/>
            </a:lvl9pPr>
          </a:lstStyle>
          <a:p>
            <a:pPr lvl="0"/>
            <a:r>
              <a:rPr lang="en-US" dirty="0"/>
              <a:t>Click to edit Master text styles.</a:t>
            </a:r>
          </a:p>
        </p:txBody>
      </p:sp>
      <p:sp>
        <p:nvSpPr>
          <p:cNvPr id="9" name="Content Placeholder 5"/>
          <p:cNvSpPr>
            <a:spLocks noGrp="1"/>
          </p:cNvSpPr>
          <p:nvPr>
            <p:ph sz="quarter" idx="13"/>
          </p:nvPr>
        </p:nvSpPr>
        <p:spPr>
          <a:xfrm>
            <a:off x="6219713" y="2734988"/>
            <a:ext cx="5445583" cy="6093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1198"/>
              </a:spcBef>
              <a:buFont typeface="Arial" pitchFamily="34" charset="0"/>
              <a:buNone/>
              <a:defRPr lang="en-US" sz="2000" kern="1200" spc="0" dirty="0" smtClean="0">
                <a:gradFill>
                  <a:gsLst>
                    <a:gs pos="100000">
                      <a:schemeClr val="bg1"/>
                    </a:gs>
                    <a:gs pos="0">
                      <a:schemeClr val="bg1"/>
                    </a:gs>
                  </a:gsLst>
                  <a:lin ang="5400000" scaled="0"/>
                </a:gradFill>
                <a:latin typeface="+mn-lt"/>
                <a:ea typeface="+mn-ea"/>
                <a:cs typeface="Segoe UI" pitchFamily="34" charset="0"/>
              </a:defRPr>
            </a:lvl1pPr>
            <a:lvl2pPr marL="912723" indent="-380301">
              <a:defRPr lang="en-US" sz="2100" kern="1200" dirty="0" smtClean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Arial" pitchFamily="34" charset="0"/>
              </a:defRPr>
            </a:lvl2pPr>
            <a:lvl3pPr marL="912723" indent="-228181">
              <a:defRPr lang="en-US" sz="1900" kern="1200" dirty="0" smtClean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Arial" pitchFamily="34" charset="0"/>
              </a:defRPr>
            </a:lvl3pPr>
            <a:lvl4pPr marL="1216965" indent="-228181">
              <a:defRPr lang="en-US" sz="1600" kern="1200" dirty="0" smtClean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Arial" pitchFamily="34" charset="0"/>
              </a:defRPr>
            </a:lvl4pPr>
            <a:lvl5pPr marL="1445146" indent="-228181">
              <a:defRPr lang="en-US" sz="1600" kern="1200" dirty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Arial" pitchFamily="34" charset="0"/>
              </a:defRPr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1" y="0"/>
            <a:ext cx="5981669" cy="6858000"/>
          </a:xfrm>
        </p:spPr>
        <p:txBody>
          <a:bodyPr lIns="182611" anchor="ctr"/>
          <a:lstStyle>
            <a:lvl1pPr marL="0" indent="0" algn="l">
              <a:buNone/>
              <a:defRPr/>
            </a:lvl1pPr>
          </a:lstStyle>
          <a:p>
            <a:r>
              <a:rPr lang="en-US" dirty="0"/>
              <a:t>Click to insert photo.</a:t>
            </a:r>
          </a:p>
        </p:txBody>
      </p:sp>
    </p:spTree>
    <p:extLst>
      <p:ext uri="{BB962C8B-B14F-4D97-AF65-F5344CB8AC3E}">
        <p14:creationId xmlns:p14="http://schemas.microsoft.com/office/powerpoint/2010/main" val="3475915918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lor Block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white">
          <a:xfrm>
            <a:off x="0" y="857251"/>
            <a:ext cx="12192000" cy="5124451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648" tIns="45648" rIns="45648" bIns="456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258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520837" y="1358056"/>
            <a:ext cx="11155094" cy="28630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6398">
                <a:gradFill>
                  <a:gsLst>
                    <a:gs pos="100000">
                      <a:schemeClr val="bg1"/>
                    </a:gs>
                    <a:gs pos="0">
                      <a:schemeClr val="bg1"/>
                    </a:gs>
                  </a:gsLst>
                  <a:lin ang="5400000" scaled="0"/>
                </a:gradFill>
                <a:latin typeface="+mj-lt"/>
              </a:defRPr>
            </a:lvl1pPr>
            <a:lvl2pPr>
              <a:defRPr sz="6398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“Click to edit Master text styles”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>
          <a:xfrm>
            <a:off x="520836" y="6399557"/>
            <a:ext cx="560832" cy="219456"/>
          </a:xfrm>
          <a:prstGeom prst="rect">
            <a:avLst/>
          </a:prstGeom>
        </p:spPr>
        <p:txBody>
          <a:bodyPr lIns="121720" tIns="60860" rIns="121720" bIns="60860" anchor="ctr"/>
          <a:lstStyle>
            <a:lvl1pPr algn="l">
              <a:defRPr sz="1600">
                <a:gradFill>
                  <a:gsLst>
                    <a:gs pos="100000">
                      <a:schemeClr val="bg2"/>
                    </a:gs>
                    <a:gs pos="0">
                      <a:schemeClr val="bg2"/>
                    </a:gs>
                  </a:gsLst>
                  <a:lin ang="5400000" scaled="0"/>
                </a:gradFill>
              </a:defRPr>
            </a:lvl1pPr>
          </a:lstStyle>
          <a:p>
            <a:pPr defTabSz="912847"/>
            <a:fld id="{727B4C2D-45E2-4621-8491-2995EB46A674}" type="slidenum">
              <a:rPr lang="en-US" smtClean="0">
                <a:gradFill>
                  <a:gsLst>
                    <a:gs pos="100000">
                      <a:srgbClr val="797A7D"/>
                    </a:gs>
                    <a:gs pos="0">
                      <a:srgbClr val="797A7D"/>
                    </a:gs>
                  </a:gsLst>
                  <a:lin ang="5400000" scaled="0"/>
                </a:gradFill>
              </a:rPr>
              <a:pPr defTabSz="912847"/>
              <a:t>‹#›</a:t>
            </a:fld>
            <a:endParaRPr lang="en-US" dirty="0">
              <a:gradFill>
                <a:gsLst>
                  <a:gs pos="100000">
                    <a:srgbClr val="797A7D"/>
                  </a:gs>
                  <a:gs pos="0">
                    <a:srgbClr val="797A7D"/>
                  </a:gs>
                </a:gsLst>
                <a:lin ang="5400000" scaled="0"/>
              </a:gradFill>
            </a:endParaRPr>
          </a:p>
        </p:txBody>
      </p:sp>
      <p:sp>
        <p:nvSpPr>
          <p:cNvPr id="11" name="Content Placeholder 4"/>
          <p:cNvSpPr>
            <a:spLocks noGrp="1"/>
          </p:cNvSpPr>
          <p:nvPr>
            <p:ph sz="quarter" idx="13"/>
          </p:nvPr>
        </p:nvSpPr>
        <p:spPr>
          <a:xfrm>
            <a:off x="520837" y="4343403"/>
            <a:ext cx="11155094" cy="47074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3600">
                <a:gradFill>
                  <a:gsLst>
                    <a:gs pos="100000">
                      <a:schemeClr val="bg1"/>
                    </a:gs>
                    <a:gs pos="0">
                      <a:schemeClr val="bg1"/>
                    </a:gs>
                  </a:gsLst>
                  <a:lin ang="5400000" scaled="0"/>
                </a:gradFill>
                <a:latin typeface="+mj-lt"/>
              </a:defRPr>
            </a:lvl1pPr>
            <a:lvl2pPr>
              <a:defRPr sz="6398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97772690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9"/>
          <p:cNvSpPr>
            <a:spLocks noGrp="1"/>
          </p:cNvSpPr>
          <p:nvPr>
            <p:ph type="sldNum" sz="quarter" idx="12"/>
          </p:nvPr>
        </p:nvSpPr>
        <p:spPr>
          <a:xfrm>
            <a:off x="520836" y="6399557"/>
            <a:ext cx="560832" cy="219456"/>
          </a:xfrm>
          <a:prstGeom prst="rect">
            <a:avLst/>
          </a:prstGeom>
        </p:spPr>
        <p:txBody>
          <a:bodyPr lIns="121720" tIns="60860" rIns="121720" bIns="60860" anchor="ctr"/>
          <a:lstStyle>
            <a:lvl1pPr algn="l">
              <a:defRPr sz="1600">
                <a:gradFill>
                  <a:gsLst>
                    <a:gs pos="100000">
                      <a:schemeClr val="bg2"/>
                    </a:gs>
                    <a:gs pos="0">
                      <a:schemeClr val="bg2"/>
                    </a:gs>
                  </a:gsLst>
                  <a:lin ang="5400000" scaled="0"/>
                </a:gradFill>
              </a:defRPr>
            </a:lvl1pPr>
          </a:lstStyle>
          <a:p>
            <a:pPr defTabSz="912847"/>
            <a:fld id="{727B4C2D-45E2-4621-8491-2995EB46A674}" type="slidenum">
              <a:rPr lang="en-US" smtClean="0">
                <a:gradFill>
                  <a:gsLst>
                    <a:gs pos="100000">
                      <a:srgbClr val="797A7D"/>
                    </a:gs>
                    <a:gs pos="0">
                      <a:srgbClr val="797A7D"/>
                    </a:gs>
                  </a:gsLst>
                  <a:lin ang="5400000" scaled="0"/>
                </a:gradFill>
              </a:rPr>
              <a:pPr defTabSz="912847"/>
              <a:t>‹#›</a:t>
            </a:fld>
            <a:endParaRPr lang="en-US" dirty="0">
              <a:gradFill>
                <a:gsLst>
                  <a:gs pos="100000">
                    <a:srgbClr val="797A7D"/>
                  </a:gs>
                  <a:gs pos="0">
                    <a:srgbClr val="797A7D"/>
                  </a:gs>
                </a:gsLst>
                <a:lin ang="5400000" scaled="0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2555467188"/>
      </p:ext>
    </p:extLst>
  </p:cSld>
  <p:clrMapOvr>
    <a:masterClrMapping/>
  </p:clrMapOvr>
  <p:transition>
    <p:fade/>
  </p:transition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22384625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50000099"/>
      </p:ext>
    </p:extLst>
  </p:cSld>
  <p:clrMapOvr>
    <a:masterClrMapping/>
  </p:clrMapOvr>
  <p:transition>
    <p:fade/>
  </p:transition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0" y="1155942"/>
            <a:ext cx="12192000" cy="5702060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648" tIns="45648" rIns="45648" bIns="456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258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9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18454" y="1447801"/>
            <a:ext cx="11155094" cy="1988237"/>
          </a:xfrm>
        </p:spPr>
        <p:txBody>
          <a:bodyPr/>
          <a:lstStyle>
            <a:lvl1pPr marL="0" indent="0">
              <a:lnSpc>
                <a:spcPct val="95000"/>
              </a:lnSpc>
              <a:buNone/>
              <a:defRPr sz="3200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itchFamily="49" charset="0"/>
                <a:cs typeface="Consolas" pitchFamily="49" charset="0"/>
              </a:defRPr>
            </a:lvl1pPr>
            <a:lvl2pPr marL="339162" indent="0">
              <a:lnSpc>
                <a:spcPct val="95000"/>
              </a:lnSpc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itchFamily="49" charset="0"/>
                <a:cs typeface="Consolas" pitchFamily="49" charset="0"/>
              </a:defRPr>
            </a:lvl2pPr>
            <a:lvl3pPr marL="572137" indent="0">
              <a:lnSpc>
                <a:spcPct val="95000"/>
              </a:lnSpc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itchFamily="49" charset="0"/>
                <a:cs typeface="Consolas" pitchFamily="49" charset="0"/>
              </a:defRPr>
            </a:lvl3pPr>
            <a:lvl4pPr marL="797189" indent="0">
              <a:lnSpc>
                <a:spcPct val="95000"/>
              </a:lnSpc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itchFamily="49" charset="0"/>
                <a:cs typeface="Consolas" pitchFamily="49" charset="0"/>
              </a:defRPr>
            </a:lvl4pPr>
            <a:lvl5pPr marL="1028580" indent="0">
              <a:lnSpc>
                <a:spcPct val="95000"/>
              </a:lnSpc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itchFamily="49" charset="0"/>
                <a:cs typeface="Consolas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3581900"/>
      </p:ext>
    </p:extLst>
  </p:cSld>
  <p:clrMapOvr>
    <a:masterClrMapping/>
  </p:clrMapOvr>
  <p:transition>
    <p:fade/>
  </p:transition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white">
          <a:xfrm>
            <a:off x="520837" y="228602"/>
            <a:ext cx="11155094" cy="664797"/>
          </a:xfrm>
        </p:spPr>
        <p:txBody>
          <a:bodyPr/>
          <a:lstStyle>
            <a:lvl1pPr>
              <a:defRPr sz="4800" baseline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519250" y="1447799"/>
            <a:ext cx="11151917" cy="2043636"/>
          </a:xfrm>
          <a:prstGeom prst="rect">
            <a:avLst/>
          </a:prstGeom>
        </p:spPr>
        <p:txBody>
          <a:bodyPr/>
          <a:lstStyle>
            <a:lvl1pPr marL="342332" indent="-342332">
              <a:buClr>
                <a:srgbClr val="FFFFFF"/>
              </a:buClr>
              <a:buSzPct val="90000"/>
              <a:buFont typeface="Arial" pitchFamily="34" charset="0"/>
              <a:buChar char="•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627607" indent="-285276">
              <a:buClr>
                <a:srgbClr val="FFFFFF"/>
              </a:buClr>
              <a:buSzPct val="90000"/>
              <a:buFont typeface="Arial" pitchFamily="34" charset="0"/>
              <a:buChar char="•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912883" indent="-285276">
              <a:buClr>
                <a:srgbClr val="FFFFFF"/>
              </a:buClr>
              <a:buSzPct val="90000"/>
              <a:buFont typeface="Arial" pitchFamily="34" charset="0"/>
              <a:buChar char="•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141104" indent="-228221">
              <a:buClr>
                <a:srgbClr val="FFFFFF"/>
              </a:buClr>
              <a:buSzPct val="90000"/>
              <a:buFont typeface="Arial" pitchFamily="34" charset="0"/>
              <a:buChar char="•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69325" indent="-228221">
              <a:buClr>
                <a:srgbClr val="FFFFFF"/>
              </a:buClr>
              <a:buSzPct val="90000"/>
              <a:buFont typeface="Arial" pitchFamily="34" charset="0"/>
              <a:buChar char="•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" y="6238877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2171" tIns="76085" rIns="152171" bIns="76085" anchor="b" anchorCtr="0">
            <a:noAutofit/>
          </a:bodyPr>
          <a:lstStyle>
            <a:lvl1pPr algn="r">
              <a:buFont typeface="Arial" pitchFamily="34" charset="0"/>
              <a:buNone/>
              <a:defRPr sz="36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</p:spTree>
    <p:extLst>
      <p:ext uri="{BB962C8B-B14F-4D97-AF65-F5344CB8AC3E}">
        <p14:creationId xmlns:p14="http://schemas.microsoft.com/office/powerpoint/2010/main" val="3580550454"/>
      </p:ext>
    </p:extLst>
  </p:cSld>
  <p:clrMapOvr>
    <a:masterClrMapping/>
  </p:clrMapOvr>
  <p:transition>
    <p:fade/>
  </p:transition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30858504"/>
      </p:ext>
    </p:extLst>
  </p:cSld>
  <p:clrMapOvr>
    <a:masterClrMapping/>
  </p:clrMapOvr>
  <p:transition>
    <p:fade/>
  </p:transition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2 Ligh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8928" y="291104"/>
            <a:ext cx="11653834" cy="1793071"/>
          </a:xfrm>
        </p:spPr>
        <p:txBody>
          <a:bodyPr/>
          <a:lstStyle>
            <a:lvl1pPr>
              <a:defRPr sz="5685">
                <a:gradFill>
                  <a:gsLst>
                    <a:gs pos="56637">
                      <a:schemeClr val="tx1"/>
                    </a:gs>
                    <a:gs pos="33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69240" y="2546470"/>
            <a:ext cx="7171399" cy="510524"/>
          </a:xfrm>
        </p:spPr>
        <p:txBody>
          <a:bodyPr/>
          <a:lstStyle>
            <a:lvl1pPr marL="0" indent="0">
              <a:buNone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sz="2353"/>
            </a:lvl2pPr>
            <a:lvl3pPr>
              <a:defRPr sz="2353"/>
            </a:lvl3pPr>
            <a:lvl4pPr>
              <a:defRPr sz="2353"/>
            </a:lvl4pPr>
            <a:lvl5pPr>
              <a:defRPr sz="2353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733262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9287972"/>
      </p:ext>
    </p:extLst>
  </p:cSld>
  <p:clrMapOvr>
    <a:masterClrMapping/>
  </p:clrMapOvr>
  <p:transition>
    <p:fade/>
  </p:transition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58854" y="1187644"/>
            <a:ext cx="5498540" cy="2721386"/>
          </a:xfrm>
        </p:spPr>
        <p:txBody>
          <a:bodyPr wrap="square">
            <a:spAutoFit/>
          </a:bodyPr>
          <a:lstStyle>
            <a:lvl1pPr marL="281691" indent="-281691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4184"/>
            </a:lvl1pPr>
            <a:lvl2pPr marL="520725" indent="-228611">
              <a:defRPr sz="2615"/>
            </a:lvl2pPr>
            <a:lvl3pPr marL="685835" indent="-165108">
              <a:tabLst/>
              <a:defRPr sz="2615"/>
            </a:lvl3pPr>
            <a:lvl4pPr marL="863642" indent="-177809">
              <a:defRPr/>
            </a:lvl4pPr>
            <a:lvl5pPr marL="1028751" indent="-165108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335004" y="1187644"/>
            <a:ext cx="5498540" cy="2721386"/>
          </a:xfrm>
        </p:spPr>
        <p:txBody>
          <a:bodyPr wrap="square">
            <a:spAutoFit/>
          </a:bodyPr>
          <a:lstStyle>
            <a:lvl1pPr marL="281691" indent="-281691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4184"/>
            </a:lvl1pPr>
            <a:lvl2pPr marL="520725" indent="-228611">
              <a:defRPr sz="2615"/>
            </a:lvl2pPr>
            <a:lvl3pPr marL="685835" indent="-165108">
              <a:tabLst/>
              <a:defRPr sz="2615"/>
            </a:lvl3pPr>
            <a:lvl4pPr marL="863642" indent="-177809">
              <a:defRPr/>
            </a:lvl4pPr>
            <a:lvl5pPr marL="1028751" indent="-165108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7258063"/>
      </p:ext>
    </p:extLst>
  </p:cSld>
  <p:clrMapOvr>
    <a:masterClrMapping/>
  </p:clrMapOvr>
  <p:transition>
    <p:fade/>
  </p:transition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 lIns="150602" tIns="120481" rIns="150602" bIns="120481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40" y="1635897"/>
            <a:ext cx="11653523" cy="2660830"/>
          </a:xfrm>
          <a:prstGeom prst="rect">
            <a:avLst/>
          </a:prstGeom>
        </p:spPr>
        <p:txBody>
          <a:bodyPr lIns="150602" tIns="120481" rIns="150602" bIns="120481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8064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051">
          <p15:clr>
            <a:srgbClr val="FBAE40"/>
          </p15:clr>
        </p15:guide>
        <p15:guide id="2" pos="3917">
          <p15:clr>
            <a:srgbClr val="FBAE40"/>
          </p15:clr>
        </p15:guide>
      </p15:sldGuideLst>
    </p:ext>
  </p:extLs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9016" y="2931082"/>
            <a:ext cx="11473970" cy="1267431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844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19700275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0645514"/>
      </p:ext>
    </p:extLst>
  </p:cSld>
  <p:clrMapOvr>
    <a:masterClrMapping/>
  </p:clrMapOvr>
  <p:transition>
    <p:fade/>
  </p:transition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15356137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Idea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021" y="1187621"/>
            <a:ext cx="11655840" cy="899665"/>
          </a:xfrm>
        </p:spPr>
        <p:txBody>
          <a:bodyPr/>
          <a:lstStyle>
            <a:lvl1pPr>
              <a:defRPr sz="7058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4090511"/>
      </p:ext>
    </p:extLst>
  </p:cSld>
  <p:clrMapOvr>
    <a:masterClrMapping/>
  </p:clrMapOvr>
  <p:transition>
    <p:fade/>
  </p:transition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>
            <a:spAutoFit/>
          </a:bodyPr>
          <a:lstStyle>
            <a:lvl1pPr>
              <a:defRPr sz="352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44902649"/>
      </p:ext>
    </p:extLst>
  </p:cSld>
  <p:clrMapOvr>
    <a:masterClrMapping/>
  </p:clrMapOvr>
  <p:transition>
    <p:fade/>
  </p:transition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>
            <a:spAutoFit/>
          </a:bodyPr>
          <a:lstStyle>
            <a:lvl1pPr>
              <a:defRPr sz="3529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19617853"/>
      </p:ext>
    </p:extLst>
  </p:cSld>
  <p:clrMapOvr>
    <a:masterClrMapping/>
  </p:clrMapOvr>
  <p:transition>
    <p:fade/>
  </p:transition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2420188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420188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3745570"/>
      </p:ext>
    </p:extLst>
  </p:cSld>
  <p:clrMapOvr>
    <a:masterClrMapping/>
  </p:clrMapOvr>
  <p:transition>
    <p:fade/>
  </p:transition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2420188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9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420188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9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4955663"/>
      </p:ext>
    </p:extLst>
  </p:cSld>
  <p:clrMapOvr>
    <a:masterClrMapping/>
  </p:clrMapOvr>
  <p:transition>
    <p:fade/>
  </p:transition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2377940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79434064"/>
      </p:ext>
    </p:extLst>
  </p:cSld>
  <p:clrMapOvr>
    <a:masterClrMapping/>
  </p:clrMapOvr>
  <p:transition>
    <p:fade/>
  </p:transition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2377940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7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7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88297784"/>
      </p:ext>
    </p:extLst>
  </p:cSld>
  <p:clrMapOvr>
    <a:masterClrMapping/>
  </p:clrMapOvr>
  <p:transition>
    <p:fade/>
  </p:transition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lue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392169" indent="-392169">
              <a:spcBef>
                <a:spcPts val="1200"/>
              </a:spcBef>
              <a:buClr>
                <a:schemeClr val="tx2"/>
              </a:buClr>
              <a:buSzPct val="100000"/>
              <a:buFont typeface="Wingdings" panose="05000000000000000000" pitchFamily="2" charset="2"/>
              <a:buChar char="ü"/>
              <a:defRPr sz="3137"/>
            </a:lvl1pPr>
            <a:lvl2pPr marL="728314" indent="-336145">
              <a:buClr>
                <a:schemeClr val="tx2"/>
              </a:buClr>
              <a:buSzPct val="100000"/>
              <a:buFont typeface="Wingdings" panose="05000000000000000000" pitchFamily="2" charset="2"/>
              <a:buChar char="ü"/>
              <a:defRPr sz="2353"/>
            </a:lvl2pPr>
            <a:lvl3pPr marL="1008435" indent="-280121">
              <a:buClr>
                <a:schemeClr val="tx2"/>
              </a:buClr>
              <a:buSzPct val="100000"/>
              <a:buFont typeface="Wingdings" panose="05000000000000000000" pitchFamily="2" charset="2"/>
              <a:buChar char="ü"/>
              <a:tabLst/>
              <a:defRPr sz="1961"/>
            </a:lvl3pPr>
            <a:lvl4pPr marL="1232531" indent="-224097">
              <a:buClr>
                <a:schemeClr val="tx2"/>
              </a:buClr>
              <a:buSzPct val="100000"/>
              <a:buFont typeface="Wingdings" panose="05000000000000000000" pitchFamily="2" charset="2"/>
              <a:buChar char="ü"/>
              <a:defRPr lang="en-US" sz="1765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32531" indent="-224097">
              <a:buClr>
                <a:schemeClr val="tx2"/>
              </a:buClr>
              <a:buSzPct val="100000"/>
              <a:buFont typeface="Wingdings" panose="05000000000000000000" pitchFamily="2" charset="2"/>
              <a:buChar char="ü"/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marL="1232531" marR="0" lvl="3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ü"/>
              <a:tabLst/>
            </a:pPr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2377940"/>
          </a:xfrm>
        </p:spPr>
        <p:txBody>
          <a:bodyPr wrap="square">
            <a:spAutoFit/>
          </a:bodyPr>
          <a:lstStyle>
            <a:lvl1pPr marL="392169" indent="-392169">
              <a:spcBef>
                <a:spcPts val="1200"/>
              </a:spcBef>
              <a:buClr>
                <a:schemeClr val="tx2"/>
              </a:buClr>
              <a:buSzPct val="100000"/>
              <a:buFont typeface="Wingdings" panose="05000000000000000000" pitchFamily="2" charset="2"/>
              <a:buChar char="ü"/>
              <a:defRPr sz="3137"/>
            </a:lvl1pPr>
            <a:lvl2pPr marL="728314" indent="-336145">
              <a:buClr>
                <a:schemeClr val="tx2"/>
              </a:buClr>
              <a:buSzPct val="100000"/>
              <a:buFont typeface="Wingdings" panose="05000000000000000000" pitchFamily="2" charset="2"/>
              <a:buChar char="ü"/>
              <a:defRPr sz="2353"/>
            </a:lvl2pPr>
            <a:lvl3pPr marL="1008435" indent="-280121">
              <a:buClr>
                <a:schemeClr val="tx2"/>
              </a:buClr>
              <a:buSzPct val="100000"/>
              <a:buFont typeface="Wingdings" panose="05000000000000000000" pitchFamily="2" charset="2"/>
              <a:buChar char="ü"/>
              <a:tabLst/>
              <a:defRPr sz="1961"/>
            </a:lvl3pPr>
            <a:lvl4pPr marL="1232531" indent="-224097">
              <a:buClr>
                <a:schemeClr val="tx2"/>
              </a:buClr>
              <a:buSzPct val="100000"/>
              <a:buFont typeface="Wingdings" panose="05000000000000000000" pitchFamily="2" charset="2"/>
              <a:buChar char="ü"/>
              <a:defRPr lang="en-US" sz="1765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32531" indent="-224097">
              <a:buClr>
                <a:schemeClr val="tx2"/>
              </a:buClr>
              <a:buSzPct val="100000"/>
              <a:buFont typeface="Wingdings" panose="05000000000000000000" pitchFamily="2" charset="2"/>
              <a:buChar char="ü"/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marL="1232531" marR="0" lvl="3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ü"/>
              <a:tabLst/>
            </a:pPr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52298593"/>
      </p:ext>
    </p:extLst>
  </p:cSld>
  <p:clrMapOvr>
    <a:masterClrMapping/>
  </p:clrMapOvr>
  <p:transition>
    <p:fade/>
  </p:transition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bar Two Column Blue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auto">
          <a:xfrm>
            <a:off x="0" y="0"/>
            <a:ext cx="12192000" cy="1189176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392169" indent="-392169">
              <a:spcBef>
                <a:spcPts val="1200"/>
              </a:spcBef>
              <a:buClr>
                <a:schemeClr val="tx2"/>
              </a:buClr>
              <a:buSzPct val="100000"/>
              <a:buFont typeface="Wingdings" panose="05000000000000000000" pitchFamily="2" charset="2"/>
              <a:buChar char="ü"/>
              <a:defRPr sz="3137"/>
            </a:lvl1pPr>
            <a:lvl2pPr marL="728314" indent="-336145">
              <a:buClr>
                <a:schemeClr val="tx2"/>
              </a:buClr>
              <a:buSzPct val="100000"/>
              <a:buFont typeface="Wingdings" panose="05000000000000000000" pitchFamily="2" charset="2"/>
              <a:buChar char="ü"/>
              <a:defRPr sz="2353"/>
            </a:lvl2pPr>
            <a:lvl3pPr marL="1008435" indent="-280121">
              <a:buClr>
                <a:schemeClr val="tx2"/>
              </a:buClr>
              <a:buSzPct val="100000"/>
              <a:buFont typeface="Wingdings" panose="05000000000000000000" pitchFamily="2" charset="2"/>
              <a:buChar char="ü"/>
              <a:tabLst/>
              <a:defRPr sz="1961"/>
            </a:lvl3pPr>
            <a:lvl4pPr marL="1232531" indent="-224097">
              <a:buClr>
                <a:schemeClr val="tx2"/>
              </a:buClr>
              <a:buSzPct val="100000"/>
              <a:buFont typeface="Wingdings" panose="05000000000000000000" pitchFamily="2" charset="2"/>
              <a:buChar char="ü"/>
              <a:defRPr lang="en-US" sz="1765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32531" indent="-224097">
              <a:buClr>
                <a:schemeClr val="tx2"/>
              </a:buClr>
              <a:buSzPct val="100000"/>
              <a:buFont typeface="Wingdings" panose="05000000000000000000" pitchFamily="2" charset="2"/>
              <a:buChar char="ü"/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marL="1232531" marR="0" lvl="3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ü"/>
              <a:tabLst/>
            </a:pPr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gradFill>
                  <a:gsLst>
                    <a:gs pos="18750">
                      <a:schemeClr val="bg1"/>
                    </a:gs>
                    <a:gs pos="64000">
                      <a:schemeClr val="bg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2377940"/>
          </a:xfrm>
        </p:spPr>
        <p:txBody>
          <a:bodyPr wrap="square">
            <a:spAutoFit/>
          </a:bodyPr>
          <a:lstStyle>
            <a:lvl1pPr marL="392169" indent="-392169">
              <a:spcBef>
                <a:spcPts val="1200"/>
              </a:spcBef>
              <a:buClr>
                <a:schemeClr val="tx2"/>
              </a:buClr>
              <a:buSzPct val="100000"/>
              <a:buFont typeface="Wingdings" panose="05000000000000000000" pitchFamily="2" charset="2"/>
              <a:buChar char="ü"/>
              <a:defRPr sz="3137"/>
            </a:lvl1pPr>
            <a:lvl2pPr marL="728314" indent="-336145">
              <a:buClr>
                <a:schemeClr val="tx2"/>
              </a:buClr>
              <a:buSzPct val="100000"/>
              <a:buFont typeface="Wingdings" panose="05000000000000000000" pitchFamily="2" charset="2"/>
              <a:buChar char="ü"/>
              <a:defRPr sz="2353"/>
            </a:lvl2pPr>
            <a:lvl3pPr marL="1008435" indent="-280121">
              <a:buClr>
                <a:schemeClr val="tx2"/>
              </a:buClr>
              <a:buSzPct val="100000"/>
              <a:buFont typeface="Wingdings" panose="05000000000000000000" pitchFamily="2" charset="2"/>
              <a:buChar char="ü"/>
              <a:tabLst/>
              <a:defRPr sz="1961"/>
            </a:lvl3pPr>
            <a:lvl4pPr marL="1232531" indent="-224097">
              <a:buClr>
                <a:schemeClr val="tx2"/>
              </a:buClr>
              <a:buSzPct val="100000"/>
              <a:buFont typeface="Wingdings" panose="05000000000000000000" pitchFamily="2" charset="2"/>
              <a:buChar char="ü"/>
              <a:defRPr lang="en-US" sz="1765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32531" indent="-224097">
              <a:buClr>
                <a:schemeClr val="tx2"/>
              </a:buClr>
              <a:buSzPct val="100000"/>
              <a:buFont typeface="Wingdings" panose="05000000000000000000" pitchFamily="2" charset="2"/>
              <a:buChar char="ü"/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marL="1232531" marR="0" lvl="3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ü"/>
              <a:tabLst/>
            </a:pPr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84440866"/>
      </p:ext>
    </p:extLst>
  </p:cSld>
  <p:clrMapOvr>
    <a:masterClrMapping/>
  </p:clrMapOvr>
  <p:transition>
    <p:fade/>
  </p:transition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31235181"/>
      </p:ext>
    </p:extLst>
  </p:cSld>
  <p:clrMapOvr>
    <a:masterClrMapping/>
  </p:clrMapOvr>
  <p:transition>
    <p:fade/>
  </p:transition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69239" y="1008336"/>
            <a:ext cx="11653523" cy="561290"/>
          </a:xfrm>
        </p:spPr>
        <p:txBody>
          <a:bodyPr/>
          <a:lstStyle>
            <a:lvl1pPr marL="0" indent="0">
              <a:buFontTx/>
              <a:buNone/>
              <a:defRPr sz="2745" baseline="0"/>
            </a:lvl1pPr>
            <a:lvl2pPr marL="336145" indent="0">
              <a:buFontTx/>
              <a:buNone/>
              <a:defRPr/>
            </a:lvl2pPr>
            <a:lvl3pPr marL="560241" indent="0">
              <a:buFontTx/>
              <a:buNone/>
              <a:defRPr/>
            </a:lvl3pPr>
            <a:lvl4pPr marL="784338" indent="0">
              <a:buFontTx/>
              <a:buNone/>
              <a:defRPr/>
            </a:lvl4pPr>
            <a:lvl5pPr marL="1008435" indent="0">
              <a:buFontTx/>
              <a:buNone/>
              <a:defRPr/>
            </a:lvl5pPr>
          </a:lstStyle>
          <a:p>
            <a:pPr lvl="0"/>
            <a:r>
              <a:rPr lang="en-US" dirty="0"/>
              <a:t>Sub-head, or additional information goes here</a:t>
            </a:r>
          </a:p>
        </p:txBody>
      </p:sp>
    </p:spTree>
    <p:extLst>
      <p:ext uri="{BB962C8B-B14F-4D97-AF65-F5344CB8AC3E}">
        <p14:creationId xmlns:p14="http://schemas.microsoft.com/office/powerpoint/2010/main" val="128662617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71684" y="2084173"/>
            <a:ext cx="8058229" cy="1793104"/>
          </a:xfrm>
        </p:spPr>
        <p:txBody>
          <a:bodyPr/>
          <a:lstStyle>
            <a:lvl1pPr>
              <a:defRPr sz="5882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4923342"/>
      </p:ext>
    </p:extLst>
  </p:cSld>
  <p:clrMapOvr>
    <a:masterClrMapping/>
  </p:clrMapOvr>
  <p:transition>
    <p:fade/>
  </p:transition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6"/>
            <a:ext cx="9859116" cy="2697988"/>
          </a:xfrm>
          <a:noFill/>
        </p:spPr>
        <p:txBody>
          <a:bodyPr tIns="91440" bIns="91440" anchor="t" anchorCtr="0"/>
          <a:lstStyle>
            <a:lvl1pPr>
              <a:defRPr sz="7058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7"/>
            <a:ext cx="9860674" cy="1793881"/>
          </a:xfrm>
          <a:noFill/>
        </p:spPr>
        <p:txBody>
          <a:bodyPr lIns="182880" tIns="146304" rIns="182880" bIns="146304">
            <a:noAutofit/>
          </a:bodyPr>
          <a:lstStyle>
            <a:lvl1pPr marL="0" indent="0">
              <a:spcBef>
                <a:spcPts val="0"/>
              </a:spcBef>
              <a:buNone/>
              <a:defRPr sz="3529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9436875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6"/>
            <a:ext cx="9859116" cy="2697988"/>
          </a:xfrm>
          <a:noFill/>
        </p:spPr>
        <p:txBody>
          <a:bodyPr tIns="91440" bIns="91440" anchor="t" anchorCtr="0"/>
          <a:lstStyle>
            <a:lvl1pPr>
              <a:defRPr lang="en-US" sz="7058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162581169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8767722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0920825"/>
      </p:ext>
    </p:extLst>
  </p:cSld>
  <p:clrMapOvr>
    <a:masterClrMapping/>
  </p:clrMapOvr>
  <p:transition>
    <p:fade/>
  </p:transition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301546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2" tIns="45722" rIns="45722" bIns="457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765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2"/>
            <a:ext cx="11653522" cy="1956973"/>
          </a:xfrm>
        </p:spPr>
        <p:txBody>
          <a:bodyPr/>
          <a:lstStyle>
            <a:lvl1pPr marL="0" indent="0">
              <a:buNone/>
              <a:defRPr sz="3235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72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3090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51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292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51050971"/>
      </p:ext>
    </p:extLst>
  </p:cSld>
  <p:clrMapOvr>
    <a:masterClrMapping/>
  </p:clrMapOvr>
  <p:transition>
    <p:fade/>
  </p:transition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40" y="6170059"/>
            <a:ext cx="11623331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43428" rIns="179285" bIns="143428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5 Microsoft Corporation. All rights reserved. 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50202" y="3083653"/>
            <a:ext cx="3223861" cy="6906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7333749"/>
      </p:ext>
    </p:extLst>
  </p:cSld>
  <p:clrMapOvr>
    <a:masterClrMapping/>
  </p:clrMapOvr>
  <p:transition>
    <p:fade/>
  </p:transition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2396047"/>
          </a:xfrm>
          <a:prstGeom prst="rect">
            <a:avLst/>
          </a:prstGeom>
        </p:spPr>
        <p:txBody>
          <a:bodyPr/>
          <a:lstStyle>
            <a:lvl1pPr marL="284790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241" indent="-275453">
              <a:buClr>
                <a:schemeClr val="tx1"/>
              </a:buClr>
              <a:buSzPct val="90000"/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5031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9128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225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7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15976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zureCon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7" y="0"/>
            <a:ext cx="12190444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1" y="3878574"/>
            <a:ext cx="7171337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  <a:p>
            <a:pPr lvl="0"/>
            <a:r>
              <a:rPr lang="en-US" dirty="0"/>
              <a:t>Speaker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48213" y="470411"/>
            <a:ext cx="1613876" cy="345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69420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/>
          <p:cNvGrpSpPr/>
          <p:nvPr userDrawn="1"/>
        </p:nvGrpSpPr>
        <p:grpSpPr>
          <a:xfrm>
            <a:off x="-233159" y="0"/>
            <a:ext cx="12658319" cy="6842189"/>
            <a:chOff x="-237835" y="0"/>
            <a:chExt cx="12912145" cy="6978399"/>
          </a:xfrm>
        </p:grpSpPr>
        <p:sp>
          <p:nvSpPr>
            <p:cNvPr id="261" name="Rectangle 260"/>
            <p:cNvSpPr/>
            <p:nvPr/>
          </p:nvSpPr>
          <p:spPr bwMode="auto">
            <a:xfrm>
              <a:off x="0" y="0"/>
              <a:ext cx="12436475" cy="5949950"/>
            </a:xfrm>
            <a:prstGeom prst="rect">
              <a:avLst/>
            </a:prstGeom>
            <a:solidFill>
              <a:srgbClr val="002846"/>
            </a:solidFill>
            <a:ln w="1079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lIns="0" tIns="46637" rIns="0" bIns="46637" anchor="ctr"/>
            <a:lstStyle/>
            <a:p>
              <a:pPr marL="0" marR="0" lvl="0" indent="0" algn="ctr" defTabSz="91403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61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16814">
                      <a:srgbClr val="FFFFFF"/>
                    </a:gs>
                    <a:gs pos="46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2" name="Freeform 261"/>
            <p:cNvSpPr/>
            <p:nvPr/>
          </p:nvSpPr>
          <p:spPr bwMode="auto">
            <a:xfrm>
              <a:off x="11399838" y="2357438"/>
              <a:ext cx="68262" cy="38100"/>
            </a:xfrm>
            <a:custGeom>
              <a:avLst/>
              <a:gdLst>
                <a:gd name="connsiteX0" fmla="*/ 0 w 69056"/>
                <a:gd name="connsiteY0" fmla="*/ 16668 h 38723"/>
                <a:gd name="connsiteX1" fmla="*/ 26194 w 69056"/>
                <a:gd name="connsiteY1" fmla="*/ 7143 h 38723"/>
                <a:gd name="connsiteX2" fmla="*/ 28575 w 69056"/>
                <a:gd name="connsiteY2" fmla="*/ 0 h 38723"/>
                <a:gd name="connsiteX3" fmla="*/ 30956 w 69056"/>
                <a:gd name="connsiteY3" fmla="*/ 7143 h 38723"/>
                <a:gd name="connsiteX4" fmla="*/ 33337 w 69056"/>
                <a:gd name="connsiteY4" fmla="*/ 38100 h 38723"/>
                <a:gd name="connsiteX5" fmla="*/ 35719 w 69056"/>
                <a:gd name="connsiteY5" fmla="*/ 28575 h 38723"/>
                <a:gd name="connsiteX6" fmla="*/ 42862 w 69056"/>
                <a:gd name="connsiteY6" fmla="*/ 23812 h 38723"/>
                <a:gd name="connsiteX7" fmla="*/ 69056 w 69056"/>
                <a:gd name="connsiteY7" fmla="*/ 19050 h 38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9056" h="38723">
                  <a:moveTo>
                    <a:pt x="0" y="16668"/>
                  </a:moveTo>
                  <a:cubicBezTo>
                    <a:pt x="14329" y="14877"/>
                    <a:pt x="18768" y="18282"/>
                    <a:pt x="26194" y="7143"/>
                  </a:cubicBezTo>
                  <a:cubicBezTo>
                    <a:pt x="27586" y="5055"/>
                    <a:pt x="27781" y="2381"/>
                    <a:pt x="28575" y="0"/>
                  </a:cubicBezTo>
                  <a:cubicBezTo>
                    <a:pt x="29369" y="2381"/>
                    <a:pt x="30645" y="4653"/>
                    <a:pt x="30956" y="7143"/>
                  </a:cubicBezTo>
                  <a:cubicBezTo>
                    <a:pt x="32240" y="17413"/>
                    <a:pt x="31092" y="27997"/>
                    <a:pt x="33337" y="38100"/>
                  </a:cubicBezTo>
                  <a:cubicBezTo>
                    <a:pt x="34047" y="41295"/>
                    <a:pt x="33904" y="31298"/>
                    <a:pt x="35719" y="28575"/>
                  </a:cubicBezTo>
                  <a:cubicBezTo>
                    <a:pt x="37306" y="26194"/>
                    <a:pt x="40247" y="24974"/>
                    <a:pt x="42862" y="23812"/>
                  </a:cubicBezTo>
                  <a:cubicBezTo>
                    <a:pt x="56400" y="17795"/>
                    <a:pt x="55699" y="19050"/>
                    <a:pt x="69056" y="19050"/>
                  </a:cubicBezTo>
                </a:path>
              </a:pathLst>
            </a:custGeom>
            <a:no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anchor="ctr"/>
            <a:lstStyle/>
            <a:p>
              <a:pPr marL="0" marR="0" lvl="0" indent="0" algn="ctr" defTabSz="91405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58" name="Rectangle 457"/>
            <p:cNvSpPr/>
            <p:nvPr/>
          </p:nvSpPr>
          <p:spPr bwMode="auto">
            <a:xfrm>
              <a:off x="112714" y="4411652"/>
              <a:ext cx="12203111" cy="1391390"/>
            </a:xfrm>
            <a:prstGeom prst="rect">
              <a:avLst/>
            </a:prstGeom>
            <a:solidFill>
              <a:srgbClr val="0072C6">
                <a:lumMod val="75000"/>
              </a:srgbClr>
            </a:solidFill>
            <a:ln w="635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lIns="179285" tIns="91440" rIns="179285" bIns="143428"/>
            <a:lstStyle/>
            <a:p>
              <a:pPr marL="0" marR="0" lvl="0" indent="0" algn="ctr" defTabSz="895923" rtl="0" eaLnBrk="1" fontAlgn="base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68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92500">
                        <a:srgbClr val="FFC000"/>
                      </a:gs>
                      <a:gs pos="33000">
                        <a:srgbClr val="FFC000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bold" panose="020B0702040204020203" pitchFamily="34" charset="0"/>
                  <a:ea typeface="Segoe UI" pitchFamily="34" charset="0"/>
                  <a:cs typeface="Segoe UI Semibold" panose="020B0702040204020203" pitchFamily="34" charset="0"/>
                </a:rPr>
                <a:t>Infrastructure Services</a:t>
              </a:r>
            </a:p>
          </p:txBody>
        </p:sp>
        <p:grpSp>
          <p:nvGrpSpPr>
            <p:cNvPr id="459" name="Group 458"/>
            <p:cNvGrpSpPr/>
            <p:nvPr/>
          </p:nvGrpSpPr>
          <p:grpSpPr>
            <a:xfrm>
              <a:off x="2945483" y="4783867"/>
              <a:ext cx="2834641" cy="790575"/>
              <a:chOff x="3078280" y="4930775"/>
              <a:chExt cx="2834641" cy="790575"/>
            </a:xfrm>
          </p:grpSpPr>
          <p:sp>
            <p:nvSpPr>
              <p:cNvPr id="507" name="Rectangle 506"/>
              <p:cNvSpPr/>
              <p:nvPr/>
            </p:nvSpPr>
            <p:spPr bwMode="auto">
              <a:xfrm>
                <a:off x="3078280" y="4930775"/>
                <a:ext cx="2834640" cy="790575"/>
              </a:xfrm>
              <a:prstGeom prst="rect">
                <a:avLst/>
              </a:prstGeom>
              <a:solidFill>
                <a:srgbClr val="0072C6"/>
              </a:solidFill>
              <a:ln w="6350" cap="flat" cmpd="sng" algn="ctr">
                <a:noFill/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bIns="143428"/>
              <a:lstStyle/>
              <a:p>
                <a:pPr marL="0" marR="0" lvl="0" indent="0" algn="ctr" defTabSz="895923" eaLnBrk="1" fontAlgn="base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76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76250">
                          <a:srgbClr val="FFFFFF"/>
                        </a:gs>
                        <a:gs pos="31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 Semibold" panose="020B0702040204020203" pitchFamily="34" charset="0"/>
                    <a:ea typeface="Segoe UI" pitchFamily="34" charset="0"/>
                    <a:cs typeface="Segoe UI Semibold" panose="020B0702040204020203" pitchFamily="34" charset="0"/>
                  </a:rPr>
                  <a:t>Storage</a:t>
                </a:r>
              </a:p>
            </p:txBody>
          </p:sp>
          <p:grpSp>
            <p:nvGrpSpPr>
              <p:cNvPr id="508" name="Group 507"/>
              <p:cNvGrpSpPr/>
              <p:nvPr/>
            </p:nvGrpSpPr>
            <p:grpSpPr>
              <a:xfrm>
                <a:off x="3141325" y="5190883"/>
                <a:ext cx="920051" cy="363782"/>
                <a:chOff x="3141325" y="5190883"/>
                <a:chExt cx="920051" cy="363782"/>
              </a:xfrm>
            </p:grpSpPr>
            <p:sp>
              <p:nvSpPr>
                <p:cNvPr id="515" name="Rectangle 514"/>
                <p:cNvSpPr/>
                <p:nvPr/>
              </p:nvSpPr>
              <p:spPr bwMode="auto">
                <a:xfrm>
                  <a:off x="3399149" y="5190883"/>
                  <a:ext cx="662227" cy="363782"/>
                </a:xfrm>
                <a:prstGeom prst="rect">
                  <a:avLst/>
                </a:prstGeom>
                <a:noFill/>
                <a:ln w="6350" cap="flat" cmpd="sng" algn="ctr">
                  <a:noFill/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  <p:txBody>
                <a:bodyPr lIns="45720" tIns="45720" rIns="45720" bIns="45720"/>
                <a:lstStyle/>
                <a:p>
                  <a:pPr marL="0" marR="0" lvl="0" indent="0" defTabSz="895923" eaLnBrk="1" fontAlgn="base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980" b="0" i="0" u="none" strike="noStrike" kern="0" cap="none" spc="0" normalizeH="0" baseline="0" noProof="0" dirty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ea typeface="Segoe UI" pitchFamily="34" charset="0"/>
                      <a:cs typeface="Segoe UI" pitchFamily="34" charset="0"/>
                    </a:rPr>
                    <a:t>BLOB </a:t>
                  </a:r>
                  <a:br>
                    <a:rPr kumimoji="0" lang="en-US" sz="980" b="0" i="0" u="none" strike="noStrike" kern="0" cap="none" spc="0" normalizeH="0" baseline="0" noProof="0" dirty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ea typeface="Segoe UI" pitchFamily="34" charset="0"/>
                      <a:cs typeface="Segoe UI" pitchFamily="34" charset="0"/>
                    </a:rPr>
                  </a:br>
                  <a:r>
                    <a:rPr kumimoji="0" lang="en-US" sz="980" b="0" i="0" u="none" strike="noStrike" kern="0" cap="none" spc="0" normalizeH="0" baseline="0" noProof="0" dirty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ea typeface="Segoe UI" pitchFamily="34" charset="0"/>
                      <a:cs typeface="Segoe UI" pitchFamily="34" charset="0"/>
                    </a:rPr>
                    <a:t>Storage</a:t>
                  </a:r>
                </a:p>
              </p:txBody>
            </p:sp>
            <p:pic>
              <p:nvPicPr>
                <p:cNvPr id="516" name="Picture 231" descr="Storage blob.png"/>
                <p:cNvPicPr>
                  <a:picLocks noChangeAspect="1"/>
                </p:cNvPicPr>
                <p:nvPr/>
              </p:nvPicPr>
              <p:blipFill>
                <a:blip r:embed="rId2" cstate="print">
                  <a:biLevel thresh="25000"/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141325" y="5253461"/>
                  <a:ext cx="247650" cy="24606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  <p:grpSp>
            <p:nvGrpSpPr>
              <p:cNvPr id="509" name="Group 508"/>
              <p:cNvGrpSpPr/>
              <p:nvPr/>
            </p:nvGrpSpPr>
            <p:grpSpPr>
              <a:xfrm>
                <a:off x="4130780" y="5194673"/>
                <a:ext cx="817562" cy="363782"/>
                <a:chOff x="4079535" y="5194673"/>
                <a:chExt cx="817562" cy="363782"/>
              </a:xfrm>
            </p:grpSpPr>
            <p:sp>
              <p:nvSpPr>
                <p:cNvPr id="513" name="Rectangle 512"/>
                <p:cNvSpPr/>
                <p:nvPr/>
              </p:nvSpPr>
              <p:spPr bwMode="auto">
                <a:xfrm>
                  <a:off x="4351381" y="5194673"/>
                  <a:ext cx="545716" cy="363782"/>
                </a:xfrm>
                <a:prstGeom prst="rect">
                  <a:avLst/>
                </a:prstGeom>
                <a:noFill/>
                <a:ln w="6350" cap="flat" cmpd="sng" algn="ctr">
                  <a:noFill/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  <p:txBody>
                <a:bodyPr lIns="45720" tIns="45720" rIns="45720" bIns="45720"/>
                <a:lstStyle/>
                <a:p>
                  <a:pPr marL="0" marR="0" lvl="0" indent="0" defTabSz="895923" eaLnBrk="1" fontAlgn="base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980" b="0" i="0" u="none" strike="noStrike" kern="0" cap="none" spc="0" normalizeH="0" baseline="0" noProof="0" dirty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ea typeface="Segoe UI" pitchFamily="34" charset="0"/>
                      <a:cs typeface="Segoe UI" pitchFamily="34" charset="0"/>
                    </a:rPr>
                    <a:t>Azure </a:t>
                  </a:r>
                  <a:br>
                    <a:rPr kumimoji="0" lang="en-US" sz="980" b="0" i="0" u="none" strike="noStrike" kern="0" cap="none" spc="0" normalizeH="0" baseline="0" noProof="0" dirty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ea typeface="Segoe UI" pitchFamily="34" charset="0"/>
                      <a:cs typeface="Segoe UI" pitchFamily="34" charset="0"/>
                    </a:rPr>
                  </a:br>
                  <a:r>
                    <a:rPr kumimoji="0" lang="en-US" sz="980" b="0" i="0" u="none" strike="noStrike" kern="0" cap="none" spc="0" normalizeH="0" baseline="0" noProof="0" dirty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ea typeface="Segoe UI" pitchFamily="34" charset="0"/>
                      <a:cs typeface="Segoe UI" pitchFamily="34" charset="0"/>
                    </a:rPr>
                    <a:t>Files</a:t>
                  </a:r>
                </a:p>
              </p:txBody>
            </p:sp>
            <p:pic>
              <p:nvPicPr>
                <p:cNvPr id="514" name="Picture 232" descr="Storage blob.png"/>
                <p:cNvPicPr>
                  <a:picLocks noChangeAspect="1"/>
                </p:cNvPicPr>
                <p:nvPr/>
              </p:nvPicPr>
              <p:blipFill>
                <a:blip r:embed="rId2" cstate="print">
                  <a:biLevel thresh="25000"/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079535" y="5253461"/>
                  <a:ext cx="247650" cy="24606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  <p:grpSp>
            <p:nvGrpSpPr>
              <p:cNvPr id="510" name="Group 509"/>
              <p:cNvGrpSpPr/>
              <p:nvPr/>
            </p:nvGrpSpPr>
            <p:grpSpPr>
              <a:xfrm>
                <a:off x="5017746" y="5193643"/>
                <a:ext cx="895175" cy="363782"/>
                <a:chOff x="5017746" y="5193643"/>
                <a:chExt cx="895175" cy="363782"/>
              </a:xfrm>
            </p:grpSpPr>
            <p:sp>
              <p:nvSpPr>
                <p:cNvPr id="511" name="Rectangle 510"/>
                <p:cNvSpPr/>
                <p:nvPr/>
              </p:nvSpPr>
              <p:spPr bwMode="auto">
                <a:xfrm>
                  <a:off x="5292049" y="5193643"/>
                  <a:ext cx="620872" cy="363782"/>
                </a:xfrm>
                <a:prstGeom prst="rect">
                  <a:avLst/>
                </a:prstGeom>
                <a:noFill/>
                <a:ln w="6350" cap="flat" cmpd="sng" algn="ctr">
                  <a:noFill/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  <p:txBody>
                <a:bodyPr lIns="45720" tIns="45720" rIns="45720" bIns="45720"/>
                <a:lstStyle/>
                <a:p>
                  <a:pPr marL="0" marR="0" lvl="0" indent="0" defTabSz="895923" eaLnBrk="1" fontAlgn="base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980" b="0" i="0" u="none" strike="noStrike" kern="0" cap="none" spc="0" normalizeH="0" baseline="0" noProof="0" dirty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ea typeface="Segoe UI" pitchFamily="34" charset="0"/>
                      <a:cs typeface="Segoe UI" pitchFamily="34" charset="0"/>
                    </a:rPr>
                    <a:t>Premium Storage</a:t>
                  </a:r>
                </a:p>
              </p:txBody>
            </p:sp>
            <p:pic>
              <p:nvPicPr>
                <p:cNvPr id="512" name="Picture 233" descr="Storage blob.png"/>
                <p:cNvPicPr>
                  <a:picLocks noChangeAspect="1"/>
                </p:cNvPicPr>
                <p:nvPr/>
              </p:nvPicPr>
              <p:blipFill>
                <a:blip r:embed="rId2" cstate="print">
                  <a:biLevel thresh="25000"/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017746" y="5253461"/>
                  <a:ext cx="247650" cy="24606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</p:grpSp>
        <p:grpSp>
          <p:nvGrpSpPr>
            <p:cNvPr id="460" name="Group 459"/>
            <p:cNvGrpSpPr/>
            <p:nvPr/>
          </p:nvGrpSpPr>
          <p:grpSpPr>
            <a:xfrm>
              <a:off x="249566" y="4783867"/>
              <a:ext cx="2573556" cy="788988"/>
              <a:chOff x="249566" y="4930775"/>
              <a:chExt cx="2573556" cy="788988"/>
            </a:xfrm>
          </p:grpSpPr>
          <p:sp>
            <p:nvSpPr>
              <p:cNvPr id="484" name="Rectangle 483"/>
              <p:cNvSpPr/>
              <p:nvPr/>
            </p:nvSpPr>
            <p:spPr bwMode="auto">
              <a:xfrm>
                <a:off x="249566" y="4930775"/>
                <a:ext cx="2573556" cy="788988"/>
              </a:xfrm>
              <a:prstGeom prst="rect">
                <a:avLst/>
              </a:prstGeom>
              <a:solidFill>
                <a:srgbClr val="0072C6"/>
              </a:solidFill>
              <a:ln w="6350" cap="flat" cmpd="sng" algn="ctr">
                <a:noFill/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bIns="143428"/>
              <a:lstStyle/>
              <a:p>
                <a:pPr marL="0" marR="0" lvl="0" indent="0" algn="ctr" defTabSz="895923" eaLnBrk="1" fontAlgn="base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76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76250">
                          <a:srgbClr val="FFFFFF"/>
                        </a:gs>
                        <a:gs pos="31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 Semibold" panose="020B0702040204020203" pitchFamily="34" charset="0"/>
                    <a:ea typeface="Segoe UI" pitchFamily="34" charset="0"/>
                    <a:cs typeface="Segoe UI Semibold" panose="020B0702040204020203" pitchFamily="34" charset="0"/>
                  </a:rPr>
                  <a:t>Compute</a:t>
                </a:r>
              </a:p>
            </p:txBody>
          </p:sp>
          <p:grpSp>
            <p:nvGrpSpPr>
              <p:cNvPr id="486" name="Group 485"/>
              <p:cNvGrpSpPr/>
              <p:nvPr/>
            </p:nvGrpSpPr>
            <p:grpSpPr>
              <a:xfrm>
                <a:off x="485673" y="5263570"/>
                <a:ext cx="952409" cy="261937"/>
                <a:chOff x="607413" y="5263570"/>
                <a:chExt cx="952409" cy="261937"/>
              </a:xfrm>
            </p:grpSpPr>
            <p:sp>
              <p:nvSpPr>
                <p:cNvPr id="503" name="Rectangle 502"/>
                <p:cNvSpPr/>
                <p:nvPr/>
              </p:nvSpPr>
              <p:spPr bwMode="auto">
                <a:xfrm>
                  <a:off x="892212" y="5263570"/>
                  <a:ext cx="667610" cy="218104"/>
                </a:xfrm>
                <a:prstGeom prst="rect">
                  <a:avLst/>
                </a:prstGeom>
                <a:noFill/>
                <a:ln w="6350" cap="flat" cmpd="sng" algn="ctr">
                  <a:noFill/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  <p:txBody>
                <a:bodyPr lIns="45720" tIns="45720" rIns="45720" bIns="45720"/>
                <a:lstStyle/>
                <a:p>
                  <a:pPr marL="0" marR="0" lvl="0" indent="0" defTabSz="895923" eaLnBrk="1" fontAlgn="base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980" b="0" i="0" u="none" strike="noStrike" kern="0" cap="none" spc="0" normalizeH="0" baseline="0" noProof="0" dirty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ea typeface="Segoe UI" pitchFamily="34" charset="0"/>
                      <a:cs typeface="Segoe UI" pitchFamily="34" charset="0"/>
                    </a:rPr>
                    <a:t>Virtual</a:t>
                  </a:r>
                  <a:br>
                    <a:rPr kumimoji="0" lang="en-US" sz="980" b="0" i="0" u="none" strike="noStrike" kern="0" cap="none" spc="0" normalizeH="0" baseline="0" noProof="0" dirty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ea typeface="Segoe UI" pitchFamily="34" charset="0"/>
                      <a:cs typeface="Segoe UI" pitchFamily="34" charset="0"/>
                    </a:rPr>
                  </a:br>
                  <a:r>
                    <a:rPr kumimoji="0" lang="en-US" sz="980" b="0" i="0" u="none" strike="noStrike" kern="0" cap="none" spc="0" normalizeH="0" baseline="0" noProof="0" dirty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ea typeface="Segoe UI" pitchFamily="34" charset="0"/>
                      <a:cs typeface="Segoe UI" pitchFamily="34" charset="0"/>
                    </a:rPr>
                    <a:t>Machine</a:t>
                  </a:r>
                </a:p>
              </p:txBody>
            </p:sp>
            <p:pic>
              <p:nvPicPr>
                <p:cNvPr id="504" name="Picture 395"/>
                <p:cNvPicPr>
                  <a:picLocks noChangeAspect="1"/>
                </p:cNvPicPr>
                <p:nvPr/>
              </p:nvPicPr>
              <p:blipFill>
                <a:blip r:embed="rId3" cstate="print">
                  <a:biLevel thresh="25000"/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607413" y="5263570"/>
                  <a:ext cx="261938" cy="26193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  <p:grpSp>
            <p:nvGrpSpPr>
              <p:cNvPr id="487" name="Group 486"/>
              <p:cNvGrpSpPr/>
              <p:nvPr/>
            </p:nvGrpSpPr>
            <p:grpSpPr>
              <a:xfrm>
                <a:off x="1737729" y="5259936"/>
                <a:ext cx="934978" cy="239587"/>
                <a:chOff x="1737729" y="5267270"/>
                <a:chExt cx="934978" cy="239587"/>
              </a:xfrm>
            </p:grpSpPr>
            <p:sp>
              <p:nvSpPr>
                <p:cNvPr id="488" name="Rectangle 487"/>
                <p:cNvSpPr/>
                <p:nvPr/>
              </p:nvSpPr>
              <p:spPr bwMode="auto">
                <a:xfrm>
                  <a:off x="1970460" y="5267270"/>
                  <a:ext cx="702247" cy="239587"/>
                </a:xfrm>
                <a:prstGeom prst="rect">
                  <a:avLst/>
                </a:prstGeom>
                <a:noFill/>
                <a:ln w="6350" cap="flat" cmpd="sng" algn="ctr">
                  <a:noFill/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  <p:txBody>
                <a:bodyPr lIns="45720" tIns="45720" rIns="45720" bIns="45720"/>
                <a:lstStyle/>
                <a:p>
                  <a:pPr marL="0" marR="0" lvl="0" indent="0" defTabSz="895923" eaLnBrk="1" fontAlgn="base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980" b="0" i="0" u="none" strike="noStrike" kern="0" cap="none" spc="0" normalizeH="0" baseline="0" noProof="0" dirty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ea typeface="Segoe UI" pitchFamily="34" charset="0"/>
                      <a:cs typeface="Segoe UI" pitchFamily="34" charset="0"/>
                    </a:rPr>
                    <a:t>Containers</a:t>
                  </a:r>
                </a:p>
              </p:txBody>
            </p:sp>
            <p:grpSp>
              <p:nvGrpSpPr>
                <p:cNvPr id="489" name="Group 411"/>
                <p:cNvGrpSpPr>
                  <a:grpSpLocks/>
                </p:cNvGrpSpPr>
                <p:nvPr/>
              </p:nvGrpSpPr>
              <p:grpSpPr bwMode="auto">
                <a:xfrm>
                  <a:off x="1737729" y="5302132"/>
                  <a:ext cx="220664" cy="169862"/>
                  <a:chOff x="1116824" y="5288934"/>
                  <a:chExt cx="294653" cy="226942"/>
                </a:xfrm>
              </p:grpSpPr>
              <p:grpSp>
                <p:nvGrpSpPr>
                  <p:cNvPr id="490" name="Group 489"/>
                  <p:cNvGrpSpPr/>
                  <p:nvPr/>
                </p:nvGrpSpPr>
                <p:grpSpPr>
                  <a:xfrm>
                    <a:off x="1143956" y="5308454"/>
                    <a:ext cx="97033" cy="104041"/>
                    <a:chOff x="429567" y="3925067"/>
                    <a:chExt cx="291844" cy="312924"/>
                  </a:xfrm>
                  <a:solidFill>
                    <a:srgbClr val="FFFFFF"/>
                  </a:solidFill>
                </p:grpSpPr>
                <p:sp>
                  <p:nvSpPr>
                    <p:cNvPr id="500" name="Diamond 499"/>
                    <p:cNvSpPr/>
                    <p:nvPr/>
                  </p:nvSpPr>
                  <p:spPr bwMode="auto">
                    <a:xfrm rot="19690132">
                      <a:off x="429567" y="3991206"/>
                      <a:ext cx="148049" cy="245584"/>
                    </a:xfrm>
                    <a:prstGeom prst="diamond">
                      <a:avLst/>
                    </a:prstGeom>
                    <a:grpFill/>
                    <a:ln w="9525" cap="flat" cmpd="sng" algn="ctr">
                      <a:noFill/>
                      <a:prstDash val="solid"/>
                      <a:headEnd type="none" w="med" len="med"/>
                      <a:tailEnd type="none" w="med" len="med"/>
                    </a:ln>
                    <a:effectLst/>
                    <a:scene3d>
                      <a:camera prst="orthographicFront">
                        <a:rot lat="899860" lon="21583921" rev="21540000"/>
                      </a:camera>
                      <a:lightRig rig="threePt" dir="t"/>
                    </a:scene3d>
                  </p:spPr>
                  <p:txBody>
                    <a:bodyPr lIns="182880" tIns="146304" rIns="182880" bIns="146304"/>
                    <a:lstStyle/>
                    <a:p>
                      <a:pPr marL="0" marR="0" lvl="0" indent="0" algn="ctr" defTabSz="914102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961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Segoe UI Light"/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  <p:sp>
                  <p:nvSpPr>
                    <p:cNvPr id="501" name="Diamond 500"/>
                    <p:cNvSpPr/>
                    <p:nvPr/>
                  </p:nvSpPr>
                  <p:spPr bwMode="auto">
                    <a:xfrm rot="1935408">
                      <a:off x="567471" y="3991342"/>
                      <a:ext cx="153940" cy="246649"/>
                    </a:xfrm>
                    <a:prstGeom prst="diamond">
                      <a:avLst/>
                    </a:prstGeom>
                    <a:grpFill/>
                    <a:ln w="9525" cap="flat" cmpd="sng" algn="ctr">
                      <a:noFill/>
                      <a:prstDash val="solid"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lIns="182880" tIns="146304" rIns="182880" bIns="146304"/>
                    <a:lstStyle/>
                    <a:p>
                      <a:pPr marL="0" marR="0" lvl="0" indent="0" algn="ctr" defTabSz="914102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961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Segoe UI Light"/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  <p:sp>
                  <p:nvSpPr>
                    <p:cNvPr id="502" name="Diamond 501"/>
                    <p:cNvSpPr/>
                    <p:nvPr/>
                  </p:nvSpPr>
                  <p:spPr bwMode="auto">
                    <a:xfrm rot="5400000">
                      <a:off x="498047" y="3879246"/>
                      <a:ext cx="153941" cy="245584"/>
                    </a:xfrm>
                    <a:prstGeom prst="diamond">
                      <a:avLst/>
                    </a:prstGeom>
                    <a:grpFill/>
                    <a:ln w="9525" cap="flat" cmpd="sng" algn="ctr">
                      <a:noFill/>
                      <a:prstDash val="solid"/>
                      <a:headEnd type="none" w="med" len="med"/>
                      <a:tailEnd type="none" w="med" len="med"/>
                    </a:ln>
                    <a:effectLst/>
                    <a:scene3d>
                      <a:camera prst="orthographicFront">
                        <a:rot lat="21599979" lon="2400000" rev="0"/>
                      </a:camera>
                      <a:lightRig rig="threePt" dir="t"/>
                    </a:scene3d>
                  </p:spPr>
                  <p:txBody>
                    <a:bodyPr lIns="182880" tIns="146304" rIns="182880" bIns="146304"/>
                    <a:lstStyle/>
                    <a:p>
                      <a:pPr marL="0" marR="0" lvl="0" indent="0" algn="ctr" defTabSz="914102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961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Segoe UI Light"/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</p:grpSp>
              <p:sp>
                <p:nvSpPr>
                  <p:cNvPr id="491" name="Rounded Rectangle 490"/>
                  <p:cNvSpPr/>
                  <p:nvPr/>
                </p:nvSpPr>
                <p:spPr bwMode="auto">
                  <a:xfrm>
                    <a:off x="1116824" y="5288934"/>
                    <a:ext cx="294653" cy="226942"/>
                  </a:xfrm>
                  <a:prstGeom prst="roundRect">
                    <a:avLst>
                      <a:gd name="adj" fmla="val 9184"/>
                    </a:avLst>
                  </a:prstGeom>
                  <a:noFill/>
                  <a:ln w="19050" cap="flat" cmpd="sng" algn="ctr">
                    <a:solidFill>
                      <a:srgbClr val="FFFFFF"/>
                    </a:solidFill>
                    <a:prstDash val="solid"/>
                    <a:headEnd type="none" w="med" len="med"/>
                    <a:tailEnd type="none" w="med" len="med"/>
                  </a:ln>
                  <a:effectLst/>
                </p:spPr>
                <p:txBody>
                  <a:bodyPr lIns="182880" tIns="146304" rIns="182880" bIns="146304"/>
                  <a:lstStyle/>
                  <a:p>
                    <a:pPr marL="0" marR="0" lvl="0" indent="0" algn="ctr" defTabSz="914102" eaLnBrk="1" fontAlgn="base" latinLnBrk="0" hangingPunct="1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961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Segoe UI Light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grpSp>
                <p:nvGrpSpPr>
                  <p:cNvPr id="492" name="Group 491"/>
                  <p:cNvGrpSpPr/>
                  <p:nvPr/>
                </p:nvGrpSpPr>
                <p:grpSpPr>
                  <a:xfrm>
                    <a:off x="1288799" y="5308986"/>
                    <a:ext cx="97033" cy="104040"/>
                    <a:chOff x="429561" y="3925070"/>
                    <a:chExt cx="291847" cy="312921"/>
                  </a:xfrm>
                  <a:solidFill>
                    <a:srgbClr val="FFFFFF"/>
                  </a:solidFill>
                </p:grpSpPr>
                <p:sp>
                  <p:nvSpPr>
                    <p:cNvPr id="497" name="Diamond 496"/>
                    <p:cNvSpPr/>
                    <p:nvPr/>
                  </p:nvSpPr>
                  <p:spPr bwMode="auto">
                    <a:xfrm rot="19690132">
                      <a:off x="429561" y="3991205"/>
                      <a:ext cx="148050" cy="245585"/>
                    </a:xfrm>
                    <a:prstGeom prst="diamond">
                      <a:avLst/>
                    </a:prstGeom>
                    <a:grpFill/>
                    <a:ln w="9525" cap="flat" cmpd="sng" algn="ctr">
                      <a:noFill/>
                      <a:prstDash val="solid"/>
                      <a:headEnd type="none" w="med" len="med"/>
                      <a:tailEnd type="none" w="med" len="med"/>
                    </a:ln>
                    <a:effectLst/>
                    <a:scene3d>
                      <a:camera prst="orthographicFront">
                        <a:rot lat="899860" lon="21583921" rev="21540000"/>
                      </a:camera>
                      <a:lightRig rig="threePt" dir="t"/>
                    </a:scene3d>
                  </p:spPr>
                  <p:txBody>
                    <a:bodyPr lIns="182880" tIns="146304" rIns="182880" bIns="146304"/>
                    <a:lstStyle/>
                    <a:p>
                      <a:pPr marL="0" marR="0" lvl="0" indent="0" algn="ctr" defTabSz="914102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961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Segoe UI Light"/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  <p:sp>
                  <p:nvSpPr>
                    <p:cNvPr id="498" name="Diamond 497"/>
                    <p:cNvSpPr/>
                    <p:nvPr/>
                  </p:nvSpPr>
                  <p:spPr bwMode="auto">
                    <a:xfrm rot="1935408">
                      <a:off x="567466" y="3991341"/>
                      <a:ext cx="153942" cy="246650"/>
                    </a:xfrm>
                    <a:prstGeom prst="diamond">
                      <a:avLst/>
                    </a:prstGeom>
                    <a:grpFill/>
                    <a:ln w="9525" cap="flat" cmpd="sng" algn="ctr">
                      <a:noFill/>
                      <a:prstDash val="solid"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lIns="182880" tIns="146304" rIns="182880" bIns="146304"/>
                    <a:lstStyle/>
                    <a:p>
                      <a:pPr marL="0" marR="0" lvl="0" indent="0" algn="ctr" defTabSz="914102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961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Segoe UI Light"/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  <p:sp>
                  <p:nvSpPr>
                    <p:cNvPr id="499" name="Diamond 498"/>
                    <p:cNvSpPr/>
                    <p:nvPr/>
                  </p:nvSpPr>
                  <p:spPr bwMode="auto">
                    <a:xfrm rot="5400000">
                      <a:off x="498041" y="3879250"/>
                      <a:ext cx="153941" cy="245582"/>
                    </a:xfrm>
                    <a:prstGeom prst="diamond">
                      <a:avLst/>
                    </a:prstGeom>
                    <a:grpFill/>
                    <a:ln w="9525" cap="flat" cmpd="sng" algn="ctr">
                      <a:noFill/>
                      <a:prstDash val="solid"/>
                      <a:headEnd type="none" w="med" len="med"/>
                      <a:tailEnd type="none" w="med" len="med"/>
                    </a:ln>
                    <a:effectLst/>
                    <a:scene3d>
                      <a:camera prst="orthographicFront">
                        <a:rot lat="21599979" lon="2400000" rev="0"/>
                      </a:camera>
                      <a:lightRig rig="threePt" dir="t"/>
                    </a:scene3d>
                  </p:spPr>
                  <p:txBody>
                    <a:bodyPr lIns="182880" tIns="146304" rIns="182880" bIns="146304"/>
                    <a:lstStyle/>
                    <a:p>
                      <a:pPr marL="0" marR="0" lvl="0" indent="0" algn="ctr" defTabSz="914102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961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Segoe UI Light"/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</p:grpSp>
              <p:grpSp>
                <p:nvGrpSpPr>
                  <p:cNvPr id="493" name="Group 492"/>
                  <p:cNvGrpSpPr/>
                  <p:nvPr/>
                </p:nvGrpSpPr>
                <p:grpSpPr>
                  <a:xfrm>
                    <a:off x="1220330" y="5390443"/>
                    <a:ext cx="97032" cy="104039"/>
                    <a:chOff x="429564" y="3925074"/>
                    <a:chExt cx="291843" cy="312917"/>
                  </a:xfrm>
                  <a:solidFill>
                    <a:srgbClr val="FFFFFF"/>
                  </a:solidFill>
                </p:grpSpPr>
                <p:sp>
                  <p:nvSpPr>
                    <p:cNvPr id="494" name="Diamond 493"/>
                    <p:cNvSpPr/>
                    <p:nvPr/>
                  </p:nvSpPr>
                  <p:spPr bwMode="auto">
                    <a:xfrm rot="19690132">
                      <a:off x="429564" y="3991204"/>
                      <a:ext cx="148050" cy="245585"/>
                    </a:xfrm>
                    <a:prstGeom prst="diamond">
                      <a:avLst/>
                    </a:prstGeom>
                    <a:grpFill/>
                    <a:ln w="9525" cap="flat" cmpd="sng" algn="ctr">
                      <a:noFill/>
                      <a:prstDash val="solid"/>
                      <a:headEnd type="none" w="med" len="med"/>
                      <a:tailEnd type="none" w="med" len="med"/>
                    </a:ln>
                    <a:effectLst/>
                    <a:scene3d>
                      <a:camera prst="orthographicFront">
                        <a:rot lat="899860" lon="21583921" rev="21540000"/>
                      </a:camera>
                      <a:lightRig rig="threePt" dir="t"/>
                    </a:scene3d>
                  </p:spPr>
                  <p:txBody>
                    <a:bodyPr lIns="182880" tIns="146304" rIns="182880" bIns="146304"/>
                    <a:lstStyle/>
                    <a:p>
                      <a:pPr marL="0" marR="0" lvl="0" indent="0" algn="ctr" defTabSz="914102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961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Segoe UI Light"/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  <p:sp>
                  <p:nvSpPr>
                    <p:cNvPr id="495" name="Diamond 494"/>
                    <p:cNvSpPr/>
                    <p:nvPr/>
                  </p:nvSpPr>
                  <p:spPr bwMode="auto">
                    <a:xfrm rot="1935408">
                      <a:off x="567465" y="3991345"/>
                      <a:ext cx="153942" cy="246646"/>
                    </a:xfrm>
                    <a:prstGeom prst="diamond">
                      <a:avLst/>
                    </a:prstGeom>
                    <a:grpFill/>
                    <a:ln w="9525" cap="flat" cmpd="sng" algn="ctr">
                      <a:noFill/>
                      <a:prstDash val="solid"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lIns="182880" tIns="146304" rIns="182880" bIns="146304"/>
                    <a:lstStyle/>
                    <a:p>
                      <a:pPr marL="0" marR="0" lvl="0" indent="0" algn="ctr" defTabSz="914102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961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Segoe UI Light"/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  <p:sp>
                  <p:nvSpPr>
                    <p:cNvPr id="496" name="Diamond 495"/>
                    <p:cNvSpPr/>
                    <p:nvPr/>
                  </p:nvSpPr>
                  <p:spPr bwMode="auto">
                    <a:xfrm rot="5400000">
                      <a:off x="502612" y="3879253"/>
                      <a:ext cx="153940" cy="245581"/>
                    </a:xfrm>
                    <a:prstGeom prst="diamond">
                      <a:avLst/>
                    </a:prstGeom>
                    <a:grpFill/>
                    <a:ln w="9525" cap="flat" cmpd="sng" algn="ctr">
                      <a:noFill/>
                      <a:prstDash val="solid"/>
                      <a:headEnd type="none" w="med" len="med"/>
                      <a:tailEnd type="none" w="med" len="med"/>
                    </a:ln>
                    <a:effectLst/>
                    <a:scene3d>
                      <a:camera prst="orthographicFront">
                        <a:rot lat="21599979" lon="2400000" rev="0"/>
                      </a:camera>
                      <a:lightRig rig="threePt" dir="t"/>
                    </a:scene3d>
                  </p:spPr>
                  <p:txBody>
                    <a:bodyPr lIns="182880" tIns="146304" rIns="182880" bIns="146304"/>
                    <a:lstStyle/>
                    <a:p>
                      <a:pPr marL="0" marR="0" lvl="0" indent="0" algn="ctr" defTabSz="914102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961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Segoe UI Light"/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</p:grpSp>
            </p:grpSp>
          </p:grpSp>
        </p:grpSp>
        <p:grpSp>
          <p:nvGrpSpPr>
            <p:cNvPr id="461" name="Group 460"/>
            <p:cNvGrpSpPr/>
            <p:nvPr/>
          </p:nvGrpSpPr>
          <p:grpSpPr>
            <a:xfrm>
              <a:off x="5900614" y="4783867"/>
              <a:ext cx="6292850" cy="790575"/>
              <a:chOff x="6022975" y="4930775"/>
              <a:chExt cx="6292850" cy="790575"/>
            </a:xfrm>
          </p:grpSpPr>
          <p:sp>
            <p:nvSpPr>
              <p:cNvPr id="462" name="Rectangle 461"/>
              <p:cNvSpPr/>
              <p:nvPr/>
            </p:nvSpPr>
            <p:spPr bwMode="auto">
              <a:xfrm>
                <a:off x="6022975" y="4930775"/>
                <a:ext cx="6292850" cy="790575"/>
              </a:xfrm>
              <a:prstGeom prst="rect">
                <a:avLst/>
              </a:prstGeom>
              <a:solidFill>
                <a:srgbClr val="0072C6"/>
              </a:solidFill>
              <a:ln w="6350" cap="flat" cmpd="sng" algn="ctr">
                <a:noFill/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bIns="143428"/>
              <a:lstStyle/>
              <a:p>
                <a:pPr marL="0" marR="0" lvl="0" indent="0" algn="ctr" defTabSz="895923" eaLnBrk="1" fontAlgn="base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76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76250">
                          <a:srgbClr val="FFFFFF"/>
                        </a:gs>
                        <a:gs pos="31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 Semibold" panose="020B0702040204020203" pitchFamily="34" charset="0"/>
                    <a:ea typeface="Segoe UI" pitchFamily="34" charset="0"/>
                    <a:cs typeface="Segoe UI Semibold" panose="020B0702040204020203" pitchFamily="34" charset="0"/>
                  </a:rPr>
                  <a:t>Networking</a:t>
                </a:r>
              </a:p>
            </p:txBody>
          </p:sp>
          <p:grpSp>
            <p:nvGrpSpPr>
              <p:cNvPr id="463" name="Group 462"/>
              <p:cNvGrpSpPr/>
              <p:nvPr/>
            </p:nvGrpSpPr>
            <p:grpSpPr>
              <a:xfrm>
                <a:off x="6120092" y="5210907"/>
                <a:ext cx="947766" cy="346518"/>
                <a:chOff x="6120092" y="5210907"/>
                <a:chExt cx="947766" cy="346518"/>
              </a:xfrm>
            </p:grpSpPr>
            <p:sp>
              <p:nvSpPr>
                <p:cNvPr id="482" name="Rectangle 481"/>
                <p:cNvSpPr/>
                <p:nvPr/>
              </p:nvSpPr>
              <p:spPr bwMode="auto">
                <a:xfrm>
                  <a:off x="6388100" y="5210907"/>
                  <a:ext cx="679758" cy="346518"/>
                </a:xfrm>
                <a:prstGeom prst="rect">
                  <a:avLst/>
                </a:prstGeom>
                <a:noFill/>
                <a:ln w="6350" cap="flat" cmpd="sng" algn="ctr">
                  <a:noFill/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  <p:txBody>
                <a:bodyPr lIns="45720" tIns="45720" rIns="45720" bIns="45720"/>
                <a:lstStyle/>
                <a:p>
                  <a:pPr marL="0" marR="0" lvl="0" indent="0" defTabSz="895923" eaLnBrk="1" fontAlgn="base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980" b="0" i="0" u="none" strike="noStrike" kern="0" cap="none" spc="0" normalizeH="0" baseline="0" noProof="0" dirty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ea typeface="Segoe UI" pitchFamily="34" charset="0"/>
                      <a:cs typeface="Segoe UI" pitchFamily="34" charset="0"/>
                    </a:rPr>
                    <a:t>Virtual Network</a:t>
                  </a:r>
                </a:p>
              </p:txBody>
            </p:sp>
            <p:pic>
              <p:nvPicPr>
                <p:cNvPr id="483" name="Picture 226"/>
                <p:cNvPicPr>
                  <a:picLocks noChangeAspect="1"/>
                </p:cNvPicPr>
                <p:nvPr/>
              </p:nvPicPr>
              <p:blipFill>
                <a:blip r:embed="rId4" cstate="print">
                  <a:biLevel thresh="25000"/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6120092" y="5242269"/>
                  <a:ext cx="268287" cy="26828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  <p:grpSp>
            <p:nvGrpSpPr>
              <p:cNvPr id="464" name="Group 463"/>
              <p:cNvGrpSpPr/>
              <p:nvPr/>
            </p:nvGrpSpPr>
            <p:grpSpPr>
              <a:xfrm>
                <a:off x="8599909" y="5210661"/>
                <a:ext cx="854686" cy="346764"/>
                <a:chOff x="8608651" y="5210661"/>
                <a:chExt cx="854686" cy="346764"/>
              </a:xfrm>
            </p:grpSpPr>
            <p:sp>
              <p:nvSpPr>
                <p:cNvPr id="480" name="Rectangle 479"/>
                <p:cNvSpPr/>
                <p:nvPr/>
              </p:nvSpPr>
              <p:spPr bwMode="auto">
                <a:xfrm>
                  <a:off x="8913208" y="5210661"/>
                  <a:ext cx="550129" cy="346764"/>
                </a:xfrm>
                <a:prstGeom prst="rect">
                  <a:avLst/>
                </a:prstGeom>
                <a:noFill/>
                <a:ln w="6350" cap="flat" cmpd="sng" algn="ctr">
                  <a:noFill/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  <p:txBody>
                <a:bodyPr lIns="45720" tIns="45720" rIns="45720" bIns="45720"/>
                <a:lstStyle/>
                <a:p>
                  <a:pPr marL="0" marR="0" lvl="0" indent="0" defTabSz="895923" eaLnBrk="1" fontAlgn="base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980" b="0" i="0" u="none" strike="noStrike" kern="0" cap="none" spc="0" normalizeH="0" baseline="0" noProof="0" dirty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ea typeface="Segoe UI" pitchFamily="34" charset="0"/>
                      <a:cs typeface="Segoe UI" pitchFamily="34" charset="0"/>
                    </a:rPr>
                    <a:t>Express</a:t>
                  </a:r>
                </a:p>
                <a:p>
                  <a:pPr marL="0" marR="0" lvl="0" indent="0" defTabSz="895923" eaLnBrk="1" fontAlgn="base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980" b="0" i="0" u="none" strike="noStrike" kern="0" cap="none" spc="0" normalizeH="0" baseline="0" noProof="0" dirty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ea typeface="Segoe UI" pitchFamily="34" charset="0"/>
                      <a:cs typeface="Segoe UI" pitchFamily="34" charset="0"/>
                    </a:rPr>
                    <a:t>Route</a:t>
                  </a:r>
                </a:p>
              </p:txBody>
            </p:sp>
            <p:pic>
              <p:nvPicPr>
                <p:cNvPr id="481" name="Picture 227"/>
                <p:cNvPicPr>
                  <a:picLocks noChangeAspect="1"/>
                </p:cNvPicPr>
                <p:nvPr/>
              </p:nvPicPr>
              <p:blipFill>
                <a:blip r:embed="rId5" cstate="print">
                  <a:biLevel thresh="25000"/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608651" y="5234771"/>
                  <a:ext cx="285077" cy="28328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  <p:grpSp>
            <p:nvGrpSpPr>
              <p:cNvPr id="465" name="Group 464"/>
              <p:cNvGrpSpPr/>
              <p:nvPr/>
            </p:nvGrpSpPr>
            <p:grpSpPr>
              <a:xfrm>
                <a:off x="9499896" y="5210661"/>
                <a:ext cx="856833" cy="346764"/>
                <a:chOff x="9542661" y="5210661"/>
                <a:chExt cx="856833" cy="346764"/>
              </a:xfrm>
            </p:grpSpPr>
            <p:sp>
              <p:nvSpPr>
                <p:cNvPr id="478" name="Rectangle 477"/>
                <p:cNvSpPr/>
                <p:nvPr/>
              </p:nvSpPr>
              <p:spPr bwMode="auto">
                <a:xfrm>
                  <a:off x="9773921" y="5210661"/>
                  <a:ext cx="625573" cy="346764"/>
                </a:xfrm>
                <a:prstGeom prst="rect">
                  <a:avLst/>
                </a:prstGeom>
                <a:noFill/>
                <a:ln w="6350" cap="flat" cmpd="sng" algn="ctr">
                  <a:noFill/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  <p:txBody>
                <a:bodyPr lIns="45720" tIns="45720" rIns="45720" bIns="45720"/>
                <a:lstStyle/>
                <a:p>
                  <a:pPr marL="0" marR="0" lvl="0" indent="0" defTabSz="895923" eaLnBrk="1" fontAlgn="base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980" b="0" i="0" u="none" strike="noStrike" kern="0" cap="none" spc="0" normalizeH="0" baseline="0" noProof="0" dirty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ea typeface="Segoe UI" pitchFamily="34" charset="0"/>
                      <a:cs typeface="Segoe UI" pitchFamily="34" charset="0"/>
                    </a:rPr>
                    <a:t>Traffic Manager</a:t>
                  </a:r>
                </a:p>
              </p:txBody>
            </p:sp>
            <p:pic>
              <p:nvPicPr>
                <p:cNvPr id="479" name="Picture 88"/>
                <p:cNvPicPr>
                  <a:picLocks noChangeAspect="1"/>
                </p:cNvPicPr>
                <p:nvPr/>
              </p:nvPicPr>
              <p:blipFill>
                <a:blip r:embed="rId6" cstate="print">
                  <a:biLevel thresh="25000"/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9542661" y="5271638"/>
                  <a:ext cx="211137" cy="2095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  <p:grpSp>
            <p:nvGrpSpPr>
              <p:cNvPr id="466" name="Group 465"/>
              <p:cNvGrpSpPr/>
              <p:nvPr/>
            </p:nvGrpSpPr>
            <p:grpSpPr>
              <a:xfrm>
                <a:off x="11270141" y="5210661"/>
                <a:ext cx="985359" cy="346764"/>
                <a:chOff x="11270141" y="5210661"/>
                <a:chExt cx="985359" cy="346764"/>
              </a:xfrm>
            </p:grpSpPr>
            <p:sp>
              <p:nvSpPr>
                <p:cNvPr id="476" name="Rectangle 475"/>
                <p:cNvSpPr/>
                <p:nvPr/>
              </p:nvSpPr>
              <p:spPr bwMode="auto">
                <a:xfrm>
                  <a:off x="11524599" y="5210661"/>
                  <a:ext cx="730901" cy="346764"/>
                </a:xfrm>
                <a:prstGeom prst="rect">
                  <a:avLst/>
                </a:prstGeom>
                <a:noFill/>
                <a:ln w="6350" cap="flat" cmpd="sng" algn="ctr">
                  <a:noFill/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  <p:txBody>
                <a:bodyPr lIns="45720" tIns="45720" rIns="45720" bIns="45720"/>
                <a:lstStyle/>
                <a:p>
                  <a:pPr marL="0" marR="0" lvl="0" indent="0" defTabSz="895923" eaLnBrk="1" fontAlgn="base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980" b="0" i="0" u="none" strike="noStrike" kern="0" cap="none" spc="0" normalizeH="0" baseline="0" noProof="0" dirty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ea typeface="Segoe UI" pitchFamily="34" charset="0"/>
                      <a:cs typeface="Segoe UI" pitchFamily="34" charset="0"/>
                    </a:rPr>
                    <a:t>Application Gateway</a:t>
                  </a:r>
                </a:p>
              </p:txBody>
            </p:sp>
            <p:sp>
              <p:nvSpPr>
                <p:cNvPr id="477" name="Freeform 476"/>
                <p:cNvSpPr/>
                <p:nvPr/>
              </p:nvSpPr>
              <p:spPr bwMode="auto">
                <a:xfrm rot="2700000">
                  <a:off x="11270140" y="5281957"/>
                  <a:ext cx="188913" cy="188912"/>
                </a:xfrm>
                <a:custGeom>
                  <a:avLst/>
                  <a:gdLst>
                    <a:gd name="connsiteX0" fmla="*/ 314803 w 613867"/>
                    <a:gd name="connsiteY0" fmla="*/ 374281 h 613867"/>
                    <a:gd name="connsiteX1" fmla="*/ 390557 w 613867"/>
                    <a:gd name="connsiteY1" fmla="*/ 450035 h 613867"/>
                    <a:gd name="connsiteX2" fmla="*/ 330696 w 613867"/>
                    <a:gd name="connsiteY2" fmla="*/ 509896 h 613867"/>
                    <a:gd name="connsiteX3" fmla="*/ 507842 w 613867"/>
                    <a:gd name="connsiteY3" fmla="*/ 504902 h 613867"/>
                    <a:gd name="connsiteX4" fmla="*/ 512837 w 613867"/>
                    <a:gd name="connsiteY4" fmla="*/ 327756 h 613867"/>
                    <a:gd name="connsiteX5" fmla="*/ 452975 w 613867"/>
                    <a:gd name="connsiteY5" fmla="*/ 387617 h 613867"/>
                    <a:gd name="connsiteX6" fmla="*/ 377221 w 613867"/>
                    <a:gd name="connsiteY6" fmla="*/ 311863 h 613867"/>
                    <a:gd name="connsiteX7" fmla="*/ 367619 w 613867"/>
                    <a:gd name="connsiteY7" fmla="*/ 63753 h 613867"/>
                    <a:gd name="connsiteX8" fmla="*/ 372612 w 613867"/>
                    <a:gd name="connsiteY8" fmla="*/ 240900 h 613867"/>
                    <a:gd name="connsiteX9" fmla="*/ 549761 w 613867"/>
                    <a:gd name="connsiteY9" fmla="*/ 245895 h 613867"/>
                    <a:gd name="connsiteX10" fmla="*/ 489898 w 613867"/>
                    <a:gd name="connsiteY10" fmla="*/ 186033 h 613867"/>
                    <a:gd name="connsiteX11" fmla="*/ 565652 w 613867"/>
                    <a:gd name="connsiteY11" fmla="*/ 110279 h 613867"/>
                    <a:gd name="connsiteX12" fmla="*/ 503234 w 613867"/>
                    <a:gd name="connsiteY12" fmla="*/ 47861 h 613867"/>
                    <a:gd name="connsiteX13" fmla="*/ 427480 w 613867"/>
                    <a:gd name="connsiteY13" fmla="*/ 123615 h 613867"/>
                    <a:gd name="connsiteX14" fmla="*/ 60550 w 613867"/>
                    <a:gd name="connsiteY14" fmla="*/ 370823 h 613867"/>
                    <a:gd name="connsiteX15" fmla="*/ 120411 w 613867"/>
                    <a:gd name="connsiteY15" fmla="*/ 430684 h 613867"/>
                    <a:gd name="connsiteX16" fmla="*/ 44657 w 613867"/>
                    <a:gd name="connsiteY16" fmla="*/ 506438 h 613867"/>
                    <a:gd name="connsiteX17" fmla="*/ 107075 w 613867"/>
                    <a:gd name="connsiteY17" fmla="*/ 568856 h 613867"/>
                    <a:gd name="connsiteX18" fmla="*/ 182829 w 613867"/>
                    <a:gd name="connsiteY18" fmla="*/ 493102 h 613867"/>
                    <a:gd name="connsiteX19" fmla="*/ 242691 w 613867"/>
                    <a:gd name="connsiteY19" fmla="*/ 552964 h 613867"/>
                    <a:gd name="connsiteX20" fmla="*/ 237696 w 613867"/>
                    <a:gd name="connsiteY20" fmla="*/ 375818 h 613867"/>
                    <a:gd name="connsiteX21" fmla="*/ 104519 w 613867"/>
                    <a:gd name="connsiteY21" fmla="*/ 101580 h 613867"/>
                    <a:gd name="connsiteX22" fmla="*/ 99524 w 613867"/>
                    <a:gd name="connsiteY22" fmla="*/ 278727 h 613867"/>
                    <a:gd name="connsiteX23" fmla="*/ 159386 w 613867"/>
                    <a:gd name="connsiteY23" fmla="*/ 218865 h 613867"/>
                    <a:gd name="connsiteX24" fmla="*/ 235140 w 613867"/>
                    <a:gd name="connsiteY24" fmla="*/ 294619 h 613867"/>
                    <a:gd name="connsiteX25" fmla="*/ 297558 w 613867"/>
                    <a:gd name="connsiteY25" fmla="*/ 232201 h 613867"/>
                    <a:gd name="connsiteX26" fmla="*/ 221804 w 613867"/>
                    <a:gd name="connsiteY26" fmla="*/ 156447 h 613867"/>
                    <a:gd name="connsiteX27" fmla="*/ 281665 w 613867"/>
                    <a:gd name="connsiteY27" fmla="*/ 96586 h 613867"/>
                    <a:gd name="connsiteX28" fmla="*/ 29967 w 613867"/>
                    <a:gd name="connsiteY28" fmla="*/ 29967 h 613867"/>
                    <a:gd name="connsiteX29" fmla="*/ 102313 w 613867"/>
                    <a:gd name="connsiteY29" fmla="*/ 0 h 613867"/>
                    <a:gd name="connsiteX30" fmla="*/ 511554 w 613867"/>
                    <a:gd name="connsiteY30" fmla="*/ 0 h 613867"/>
                    <a:gd name="connsiteX31" fmla="*/ 613867 w 613867"/>
                    <a:gd name="connsiteY31" fmla="*/ 102313 h 613867"/>
                    <a:gd name="connsiteX32" fmla="*/ 613867 w 613867"/>
                    <a:gd name="connsiteY32" fmla="*/ 511554 h 613867"/>
                    <a:gd name="connsiteX33" fmla="*/ 511554 w 613867"/>
                    <a:gd name="connsiteY33" fmla="*/ 613867 h 613867"/>
                    <a:gd name="connsiteX34" fmla="*/ 102313 w 613867"/>
                    <a:gd name="connsiteY34" fmla="*/ 613867 h 613867"/>
                    <a:gd name="connsiteX35" fmla="*/ 0 w 613867"/>
                    <a:gd name="connsiteY35" fmla="*/ 511554 h 613867"/>
                    <a:gd name="connsiteX36" fmla="*/ 0 w 613867"/>
                    <a:gd name="connsiteY36" fmla="*/ 102313 h 613867"/>
                    <a:gd name="connsiteX37" fmla="*/ 29967 w 613867"/>
                    <a:gd name="connsiteY37" fmla="*/ 29967 h 6138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</a:cxnLst>
                  <a:rect l="l" t="t" r="r" b="b"/>
                  <a:pathLst>
                    <a:path w="613867" h="613867">
                      <a:moveTo>
                        <a:pt x="314803" y="374281"/>
                      </a:moveTo>
                      <a:lnTo>
                        <a:pt x="390557" y="450035"/>
                      </a:lnTo>
                      <a:lnTo>
                        <a:pt x="330696" y="509896"/>
                      </a:lnTo>
                      <a:lnTo>
                        <a:pt x="507842" y="504902"/>
                      </a:lnTo>
                      <a:lnTo>
                        <a:pt x="512837" y="327756"/>
                      </a:lnTo>
                      <a:lnTo>
                        <a:pt x="452975" y="387617"/>
                      </a:lnTo>
                      <a:lnTo>
                        <a:pt x="377221" y="311863"/>
                      </a:lnTo>
                      <a:close/>
                      <a:moveTo>
                        <a:pt x="367619" y="63753"/>
                      </a:moveTo>
                      <a:lnTo>
                        <a:pt x="372612" y="240900"/>
                      </a:lnTo>
                      <a:lnTo>
                        <a:pt x="549761" y="245895"/>
                      </a:lnTo>
                      <a:lnTo>
                        <a:pt x="489898" y="186033"/>
                      </a:lnTo>
                      <a:lnTo>
                        <a:pt x="565652" y="110279"/>
                      </a:lnTo>
                      <a:lnTo>
                        <a:pt x="503234" y="47861"/>
                      </a:lnTo>
                      <a:lnTo>
                        <a:pt x="427480" y="123615"/>
                      </a:lnTo>
                      <a:close/>
                      <a:moveTo>
                        <a:pt x="60550" y="370823"/>
                      </a:moveTo>
                      <a:lnTo>
                        <a:pt x="120411" y="430684"/>
                      </a:lnTo>
                      <a:lnTo>
                        <a:pt x="44657" y="506438"/>
                      </a:lnTo>
                      <a:lnTo>
                        <a:pt x="107075" y="568856"/>
                      </a:lnTo>
                      <a:lnTo>
                        <a:pt x="182829" y="493102"/>
                      </a:lnTo>
                      <a:lnTo>
                        <a:pt x="242691" y="552964"/>
                      </a:lnTo>
                      <a:lnTo>
                        <a:pt x="237696" y="375818"/>
                      </a:lnTo>
                      <a:close/>
                      <a:moveTo>
                        <a:pt x="104519" y="101580"/>
                      </a:moveTo>
                      <a:lnTo>
                        <a:pt x="99524" y="278727"/>
                      </a:lnTo>
                      <a:lnTo>
                        <a:pt x="159386" y="218865"/>
                      </a:lnTo>
                      <a:lnTo>
                        <a:pt x="235140" y="294619"/>
                      </a:lnTo>
                      <a:lnTo>
                        <a:pt x="297558" y="232201"/>
                      </a:lnTo>
                      <a:lnTo>
                        <a:pt x="221804" y="156447"/>
                      </a:lnTo>
                      <a:lnTo>
                        <a:pt x="281665" y="96586"/>
                      </a:lnTo>
                      <a:close/>
                      <a:moveTo>
                        <a:pt x="29967" y="29967"/>
                      </a:moveTo>
                      <a:cubicBezTo>
                        <a:pt x="48482" y="11452"/>
                        <a:pt x="74060" y="0"/>
                        <a:pt x="102313" y="0"/>
                      </a:cubicBezTo>
                      <a:lnTo>
                        <a:pt x="511554" y="0"/>
                      </a:lnTo>
                      <a:cubicBezTo>
                        <a:pt x="568060" y="0"/>
                        <a:pt x="613867" y="45807"/>
                        <a:pt x="613867" y="102313"/>
                      </a:cubicBezTo>
                      <a:lnTo>
                        <a:pt x="613867" y="511554"/>
                      </a:lnTo>
                      <a:cubicBezTo>
                        <a:pt x="613867" y="568060"/>
                        <a:pt x="568060" y="613867"/>
                        <a:pt x="511554" y="613867"/>
                      </a:cubicBezTo>
                      <a:lnTo>
                        <a:pt x="102313" y="613867"/>
                      </a:lnTo>
                      <a:cubicBezTo>
                        <a:pt x="45807" y="613867"/>
                        <a:pt x="0" y="568060"/>
                        <a:pt x="0" y="511554"/>
                      </a:cubicBezTo>
                      <a:lnTo>
                        <a:pt x="0" y="102313"/>
                      </a:lnTo>
                      <a:cubicBezTo>
                        <a:pt x="0" y="74060"/>
                        <a:pt x="11452" y="48482"/>
                        <a:pt x="29967" y="29967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lIns="182880" tIns="146304" rIns="182880" bIns="146304"/>
                <a:lstStyle/>
                <a:p>
                  <a:pPr marL="0" marR="0" lvl="0" indent="0" algn="ctr" defTabSz="914102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961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Light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grpSp>
            <p:nvGrpSpPr>
              <p:cNvPr id="467" name="Group 466"/>
              <p:cNvGrpSpPr/>
              <p:nvPr/>
            </p:nvGrpSpPr>
            <p:grpSpPr>
              <a:xfrm>
                <a:off x="7897520" y="5210661"/>
                <a:ext cx="657088" cy="346764"/>
                <a:chOff x="7872239" y="5210661"/>
                <a:chExt cx="657088" cy="346764"/>
              </a:xfrm>
            </p:grpSpPr>
            <p:sp>
              <p:nvSpPr>
                <p:cNvPr id="474" name="Rectangle 473"/>
                <p:cNvSpPr/>
                <p:nvPr/>
              </p:nvSpPr>
              <p:spPr bwMode="auto">
                <a:xfrm>
                  <a:off x="8127646" y="5210661"/>
                  <a:ext cx="401681" cy="346764"/>
                </a:xfrm>
                <a:prstGeom prst="rect">
                  <a:avLst/>
                </a:prstGeom>
                <a:noFill/>
                <a:ln w="6350" cap="flat" cmpd="sng" algn="ctr">
                  <a:noFill/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  <p:txBody>
                <a:bodyPr lIns="45720" tIns="45720" rIns="45720" bIns="45720" anchor="ctr" anchorCtr="0"/>
                <a:lstStyle/>
                <a:p>
                  <a:pPr marL="0" marR="0" lvl="0" indent="0" defTabSz="895923" eaLnBrk="1" fontAlgn="base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980" b="0" i="0" u="none" strike="noStrike" kern="0" cap="none" spc="0" normalizeH="0" baseline="0" noProof="0" dirty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ea typeface="Segoe UI" pitchFamily="34" charset="0"/>
                      <a:cs typeface="Segoe UI" pitchFamily="34" charset="0"/>
                    </a:rPr>
                    <a:t>DNS</a:t>
                  </a:r>
                </a:p>
              </p:txBody>
            </p:sp>
            <p:pic>
              <p:nvPicPr>
                <p:cNvPr id="475" name="Picture 3"/>
                <p:cNvPicPr>
                  <a:picLocks noChangeAspect="1"/>
                </p:cNvPicPr>
                <p:nvPr/>
              </p:nvPicPr>
              <p:blipFill>
                <a:blip r:embed="rId7" cstate="print">
                  <a:biLevel thresh="25000"/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7872239" y="5259380"/>
                  <a:ext cx="234066" cy="23406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  <p:grpSp>
            <p:nvGrpSpPr>
              <p:cNvPr id="468" name="Group 467"/>
              <p:cNvGrpSpPr/>
              <p:nvPr/>
            </p:nvGrpSpPr>
            <p:grpSpPr>
              <a:xfrm>
                <a:off x="10402030" y="5210661"/>
                <a:ext cx="822809" cy="346764"/>
                <a:chOff x="10440820" y="5210661"/>
                <a:chExt cx="822809" cy="346764"/>
              </a:xfrm>
            </p:grpSpPr>
            <p:sp>
              <p:nvSpPr>
                <p:cNvPr id="472" name="Rectangle 471"/>
                <p:cNvSpPr/>
                <p:nvPr/>
              </p:nvSpPr>
              <p:spPr bwMode="auto">
                <a:xfrm>
                  <a:off x="10673647" y="5210661"/>
                  <a:ext cx="589982" cy="346764"/>
                </a:xfrm>
                <a:prstGeom prst="rect">
                  <a:avLst/>
                </a:prstGeom>
                <a:noFill/>
                <a:ln w="6350" cap="flat" cmpd="sng" algn="ctr">
                  <a:noFill/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  <p:txBody>
                <a:bodyPr lIns="45720" tIns="45720" rIns="45720" bIns="45720"/>
                <a:lstStyle/>
                <a:p>
                  <a:pPr marL="0" marR="0" lvl="0" indent="0" defTabSz="895923" eaLnBrk="1" fontAlgn="base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980" b="0" i="0" u="none" strike="noStrike" kern="0" cap="none" spc="0" normalizeH="0" baseline="0" noProof="0" dirty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ea typeface="Segoe UI" pitchFamily="34" charset="0"/>
                      <a:cs typeface="Segoe UI" pitchFamily="34" charset="0"/>
                    </a:rPr>
                    <a:t>VPN </a:t>
                  </a:r>
                  <a:br>
                    <a:rPr kumimoji="0" lang="en-US" sz="980" b="0" i="0" u="none" strike="noStrike" kern="0" cap="none" spc="0" normalizeH="0" baseline="0" noProof="0" dirty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ea typeface="Segoe UI" pitchFamily="34" charset="0"/>
                      <a:cs typeface="Segoe UI" pitchFamily="34" charset="0"/>
                    </a:rPr>
                  </a:br>
                  <a:r>
                    <a:rPr kumimoji="0" lang="en-US" sz="980" b="0" i="0" u="none" strike="noStrike" kern="0" cap="none" spc="0" normalizeH="0" baseline="0" noProof="0" dirty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ea typeface="Segoe UI" pitchFamily="34" charset="0"/>
                      <a:cs typeface="Segoe UI" pitchFamily="34" charset="0"/>
                    </a:rPr>
                    <a:t>Gateway</a:t>
                  </a:r>
                </a:p>
              </p:txBody>
            </p:sp>
            <p:pic>
              <p:nvPicPr>
                <p:cNvPr id="473" name="Picture 9"/>
                <p:cNvPicPr>
                  <a:picLocks noChangeAspect="1"/>
                </p:cNvPicPr>
                <p:nvPr/>
              </p:nvPicPr>
              <p:blipFill>
                <a:blip r:embed="rId8" cstate="print">
                  <a:biLevel thresh="25000"/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0440820" y="5255763"/>
                  <a:ext cx="241300" cy="24130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  <p:grpSp>
            <p:nvGrpSpPr>
              <p:cNvPr id="469" name="Group 468"/>
              <p:cNvGrpSpPr/>
              <p:nvPr/>
            </p:nvGrpSpPr>
            <p:grpSpPr>
              <a:xfrm>
                <a:off x="7004047" y="5210907"/>
                <a:ext cx="848172" cy="346518"/>
                <a:chOff x="7002727" y="5210907"/>
                <a:chExt cx="848172" cy="346518"/>
              </a:xfrm>
            </p:grpSpPr>
            <p:sp>
              <p:nvSpPr>
                <p:cNvPr id="470" name="Rectangle 469"/>
                <p:cNvSpPr/>
                <p:nvPr/>
              </p:nvSpPr>
              <p:spPr bwMode="auto">
                <a:xfrm>
                  <a:off x="7265455" y="5210907"/>
                  <a:ext cx="585444" cy="346518"/>
                </a:xfrm>
                <a:prstGeom prst="rect">
                  <a:avLst/>
                </a:prstGeom>
                <a:noFill/>
                <a:ln w="6350" cap="flat" cmpd="sng" algn="ctr">
                  <a:noFill/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  <p:txBody>
                <a:bodyPr lIns="45720" tIns="45720" rIns="45720" bIns="45720"/>
                <a:lstStyle/>
                <a:p>
                  <a:pPr marL="0" marR="0" lvl="0" indent="0" defTabSz="895923" eaLnBrk="1" fontAlgn="base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980" b="0" i="0" u="none" strike="noStrike" kern="0" cap="none" spc="0" normalizeH="0" baseline="0" noProof="0" dirty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ea typeface="Segoe UI" pitchFamily="34" charset="0"/>
                      <a:cs typeface="Segoe UI" pitchFamily="34" charset="0"/>
                    </a:rPr>
                    <a:t>Load Balancer</a:t>
                  </a:r>
                </a:p>
              </p:txBody>
            </p:sp>
            <p:pic>
              <p:nvPicPr>
                <p:cNvPr id="471" name="Picture 11"/>
                <p:cNvPicPr>
                  <a:picLocks noChangeAspect="1"/>
                </p:cNvPicPr>
                <p:nvPr/>
              </p:nvPicPr>
              <p:blipFill>
                <a:blip r:embed="rId9" cstate="print">
                  <a:biLevel thresh="25000"/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7002727" y="5257351"/>
                  <a:ext cx="239713" cy="23812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</p:grpSp>
        <p:sp>
          <p:nvSpPr>
            <p:cNvPr id="342" name="Rectangle 341"/>
            <p:cNvSpPr/>
            <p:nvPr/>
          </p:nvSpPr>
          <p:spPr bwMode="auto">
            <a:xfrm>
              <a:off x="112714" y="104775"/>
              <a:ext cx="12203111" cy="4349182"/>
            </a:xfrm>
            <a:prstGeom prst="rect">
              <a:avLst/>
            </a:prstGeom>
            <a:solidFill>
              <a:srgbClr val="005695"/>
            </a:solidFill>
            <a:ln w="635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lIns="179285" tIns="143428" rIns="179285" bIns="143428"/>
            <a:lstStyle/>
            <a:p>
              <a:pPr marL="0" marR="0" lvl="0" indent="0" algn="ctr" defTabSz="895923" eaLnBrk="1" fontAlgn="base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68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92500">
                        <a:srgbClr val="FFC000"/>
                      </a:gs>
                      <a:gs pos="33000">
                        <a:srgbClr val="FFC000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bold" panose="020B0702040204020203" pitchFamily="34" charset="0"/>
                  <a:ea typeface="Segoe UI" pitchFamily="34" charset="0"/>
                  <a:cs typeface="Segoe UI Semibold" panose="020B0702040204020203" pitchFamily="34" charset="0"/>
                </a:rPr>
                <a:t>Platform Services</a:t>
              </a:r>
            </a:p>
          </p:txBody>
        </p:sp>
        <p:grpSp>
          <p:nvGrpSpPr>
            <p:cNvPr id="14" name="Group 13"/>
            <p:cNvGrpSpPr/>
            <p:nvPr/>
          </p:nvGrpSpPr>
          <p:grpSpPr>
            <a:xfrm>
              <a:off x="249566" y="543029"/>
              <a:ext cx="11942434" cy="3795291"/>
              <a:chOff x="249566" y="543029"/>
              <a:chExt cx="11942434" cy="3795291"/>
            </a:xfrm>
          </p:grpSpPr>
          <p:grpSp>
            <p:nvGrpSpPr>
              <p:cNvPr id="343" name="Group 342"/>
              <p:cNvGrpSpPr/>
              <p:nvPr/>
            </p:nvGrpSpPr>
            <p:grpSpPr>
              <a:xfrm>
                <a:off x="2087227" y="543029"/>
                <a:ext cx="8372241" cy="3790160"/>
                <a:chOff x="2082009" y="543029"/>
                <a:chExt cx="8372241" cy="3790160"/>
              </a:xfrm>
            </p:grpSpPr>
            <p:grpSp>
              <p:nvGrpSpPr>
                <p:cNvPr id="344" name="Group 343"/>
                <p:cNvGrpSpPr/>
                <p:nvPr/>
              </p:nvGrpSpPr>
              <p:grpSpPr>
                <a:xfrm>
                  <a:off x="4343326" y="543029"/>
                  <a:ext cx="3736693" cy="1371600"/>
                  <a:chOff x="4336920" y="650979"/>
                  <a:chExt cx="3736693" cy="1371600"/>
                </a:xfrm>
              </p:grpSpPr>
              <p:sp>
                <p:nvSpPr>
                  <p:cNvPr id="439" name="Rectangle 438"/>
                  <p:cNvSpPr/>
                  <p:nvPr/>
                </p:nvSpPr>
                <p:spPr bwMode="auto">
                  <a:xfrm>
                    <a:off x="4336920" y="650979"/>
                    <a:ext cx="3736693" cy="1371600"/>
                  </a:xfrm>
                  <a:prstGeom prst="rect">
                    <a:avLst/>
                  </a:prstGeom>
                  <a:solidFill>
                    <a:srgbClr val="0072C6"/>
                  </a:solidFill>
                  <a:ln w="6350" cap="flat" cmpd="sng" algn="ctr">
                    <a:noFill/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  <p:txBody>
                  <a:bodyPr lIns="179285" tIns="143428" rIns="179285" bIns="143428"/>
                  <a:lstStyle/>
                  <a:p>
                    <a:pPr marL="0" marR="0" lvl="0" indent="0" algn="ctr" defTabSz="895923" eaLnBrk="1" fontAlgn="base" latinLnBrk="0" hangingPunct="1">
                      <a:lnSpc>
                        <a:spcPct val="9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176" b="0" i="0" u="none" strike="noStrike" kern="0" cap="none" spc="0" normalizeH="0" baseline="0" noProof="0" dirty="0">
                        <a:ln>
                          <a:noFill/>
                        </a:ln>
                        <a:gradFill>
                          <a:gsLst>
                            <a:gs pos="76250">
                              <a:srgbClr val="FFFFFF"/>
                            </a:gs>
                            <a:gs pos="31000">
                              <a:srgbClr val="FFFFFF"/>
                            </a:gs>
                          </a:gsLst>
                          <a:lin ang="5400000" scaled="0"/>
                        </a:gradFill>
                        <a:effectLst/>
                        <a:uLnTx/>
                        <a:uFillTx/>
                        <a:latin typeface="Segoe UI Semibold" panose="020B0702040204020203" pitchFamily="34" charset="0"/>
                        <a:ea typeface="Segoe UI" pitchFamily="34" charset="0"/>
                        <a:cs typeface="Segoe UI Semibold" panose="020B0702040204020203" pitchFamily="34" charset="0"/>
                      </a:rPr>
                      <a:t>Web and mobile</a:t>
                    </a:r>
                  </a:p>
                </p:txBody>
              </p:sp>
              <p:grpSp>
                <p:nvGrpSpPr>
                  <p:cNvPr id="440" name="Group 439"/>
                  <p:cNvGrpSpPr/>
                  <p:nvPr/>
                </p:nvGrpSpPr>
                <p:grpSpPr>
                  <a:xfrm>
                    <a:off x="4516491" y="1046498"/>
                    <a:ext cx="1003842" cy="300037"/>
                    <a:chOff x="4516491" y="987018"/>
                    <a:chExt cx="1003842" cy="300037"/>
                  </a:xfrm>
                </p:grpSpPr>
                <p:sp>
                  <p:nvSpPr>
                    <p:cNvPr id="456" name="TextBox 455"/>
                    <p:cNvSpPr txBox="1"/>
                    <p:nvPr/>
                  </p:nvSpPr>
                  <p:spPr bwMode="auto">
                    <a:xfrm>
                      <a:off x="4861521" y="987018"/>
                      <a:ext cx="658812" cy="300037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txBody>
                    <a:bodyPr wrap="none" lIns="0" tIns="27971" rIns="0" bIns="0" anchor="ctr" anchorCtr="0"/>
                    <a:lstStyle>
                      <a:defPPr>
                        <a:defRPr lang="en-US"/>
                      </a:defPPr>
                      <a:lvl1pPr defTabSz="932317">
                        <a:lnSpc>
                          <a:spcPct val="90000"/>
                        </a:lnSpc>
                        <a:spcBef>
                          <a:spcPts val="600"/>
                        </a:spcBef>
                        <a:defRPr sz="1000">
                          <a:gradFill>
                            <a:gsLst>
                              <a:gs pos="76250">
                                <a:schemeClr val="bg1"/>
                              </a:gs>
                              <a:gs pos="31000">
                                <a:schemeClr val="bg1"/>
                              </a:gs>
                            </a:gsLst>
                            <a:lin ang="5400000" scaled="0"/>
                          </a:gradFill>
                          <a:latin typeface="+mn-lt"/>
                          <a:ea typeface="Arial Unicode MS" panose="020B0604020202020204" pitchFamily="34" charset="-128"/>
                          <a:cs typeface="Segoe UI Light" panose="020B0502040204020203" pitchFamily="34" charset="0"/>
                        </a:defRPr>
                      </a:lvl1pPr>
                    </a:lstStyle>
                    <a:p>
                      <a:pPr marL="0" marR="0" lvl="0" indent="0" defTabSz="913950" eaLnBrk="0" fontAlgn="base" latinLnBrk="0" hangingPunct="0">
                        <a:lnSpc>
                          <a:spcPct val="90000"/>
                        </a:lnSpc>
                        <a:spcBef>
                          <a:spcPts val="588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80" b="0" i="0" u="none" strike="noStrike" kern="0" cap="none" spc="0" normalizeH="0" baseline="0" noProof="0" dirty="0">
                          <a:ln>
                            <a:noFill/>
                          </a:ln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Arial Unicode MS" panose="020B0604020202020204" pitchFamily="34" charset="-128"/>
                          <a:cs typeface="Segoe UI Light" panose="020B0502040204020203" pitchFamily="34" charset="0"/>
                        </a:rPr>
                        <a:t>Web </a:t>
                      </a:r>
                      <a:br>
                        <a:rPr kumimoji="0" lang="en-US" sz="980" b="0" i="0" u="none" strike="noStrike" kern="0" cap="none" spc="0" normalizeH="0" baseline="0" noProof="0" dirty="0">
                          <a:ln>
                            <a:noFill/>
                          </a:ln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Arial Unicode MS" panose="020B0604020202020204" pitchFamily="34" charset="-128"/>
                          <a:cs typeface="Segoe UI Light" panose="020B0502040204020203" pitchFamily="34" charset="0"/>
                        </a:rPr>
                      </a:br>
                      <a:r>
                        <a:rPr kumimoji="0" lang="en-US" sz="980" b="0" i="0" u="none" strike="noStrike" kern="0" cap="none" spc="0" normalizeH="0" baseline="0" noProof="0" dirty="0">
                          <a:ln>
                            <a:noFill/>
                          </a:ln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Arial Unicode MS" panose="020B0604020202020204" pitchFamily="34" charset="-128"/>
                          <a:cs typeface="Segoe UI Light" panose="020B0502040204020203" pitchFamily="34" charset="0"/>
                        </a:rPr>
                        <a:t>Apps</a:t>
                      </a:r>
                    </a:p>
                  </p:txBody>
                </p:sp>
                <p:pic>
                  <p:nvPicPr>
                    <p:cNvPr id="457" name="Picture 151"/>
                    <p:cNvPicPr>
                      <a:picLocks noChangeAspect="1"/>
                    </p:cNvPicPr>
                    <p:nvPr/>
                  </p:nvPicPr>
                  <p:blipFill>
                    <a:blip r:embed="rId10" cstate="print">
                      <a:biLevel thresh="25000"/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rcRect/>
                    <a:stretch>
                      <a:fillRect/>
                    </a:stretch>
                  </p:blipFill>
                  <p:spPr bwMode="auto">
                    <a:xfrm>
                      <a:off x="4516491" y="993596"/>
                      <a:ext cx="286768" cy="286881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</p:pic>
              </p:grpSp>
              <p:grpSp>
                <p:nvGrpSpPr>
                  <p:cNvPr id="441" name="Group 440"/>
                  <p:cNvGrpSpPr/>
                  <p:nvPr/>
                </p:nvGrpSpPr>
                <p:grpSpPr>
                  <a:xfrm>
                    <a:off x="4516491" y="1617114"/>
                    <a:ext cx="1003842" cy="291190"/>
                    <a:chOff x="4516491" y="1514601"/>
                    <a:chExt cx="1003842" cy="291190"/>
                  </a:xfrm>
                </p:grpSpPr>
                <p:sp>
                  <p:nvSpPr>
                    <p:cNvPr id="454" name="TextBox 453"/>
                    <p:cNvSpPr txBox="1"/>
                    <p:nvPr/>
                  </p:nvSpPr>
                  <p:spPr bwMode="auto">
                    <a:xfrm>
                      <a:off x="4861521" y="1530021"/>
                      <a:ext cx="658812" cy="260350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txBody>
                    <a:bodyPr wrap="none" lIns="0" tIns="27971" rIns="0" bIns="0" anchor="ctr" anchorCtr="0"/>
                    <a:lstStyle>
                      <a:defPPr>
                        <a:defRPr lang="en-US"/>
                      </a:defPPr>
                      <a:lvl1pPr defTabSz="932317">
                        <a:lnSpc>
                          <a:spcPct val="90000"/>
                        </a:lnSpc>
                        <a:spcBef>
                          <a:spcPts val="600"/>
                        </a:spcBef>
                        <a:defRPr sz="1000">
                          <a:gradFill>
                            <a:gsLst>
                              <a:gs pos="76250">
                                <a:schemeClr val="bg1"/>
                              </a:gs>
                              <a:gs pos="31000">
                                <a:schemeClr val="bg1"/>
                              </a:gs>
                            </a:gsLst>
                            <a:lin ang="5400000" scaled="0"/>
                          </a:gradFill>
                          <a:latin typeface="+mn-lt"/>
                          <a:ea typeface="Arial Unicode MS" panose="020B0604020202020204" pitchFamily="34" charset="-128"/>
                          <a:cs typeface="Segoe UI Light" panose="020B0502040204020203" pitchFamily="34" charset="0"/>
                        </a:defRPr>
                      </a:lvl1pPr>
                    </a:lstStyle>
                    <a:p>
                      <a:pPr marL="0" marR="0" lvl="0" indent="0" defTabSz="913950" eaLnBrk="0" fontAlgn="base" latinLnBrk="0" hangingPunct="0">
                        <a:lnSpc>
                          <a:spcPct val="90000"/>
                        </a:lnSpc>
                        <a:spcBef>
                          <a:spcPts val="588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80" b="0" i="0" u="none" strike="noStrike" kern="0" cap="none" spc="0" normalizeH="0" baseline="0" noProof="0" dirty="0">
                          <a:ln>
                            <a:noFill/>
                          </a:ln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Arial Unicode MS" panose="020B0604020202020204" pitchFamily="34" charset="-128"/>
                          <a:cs typeface="Segoe UI Light" panose="020B0502040204020203" pitchFamily="34" charset="0"/>
                        </a:rPr>
                        <a:t>Mobile</a:t>
                      </a:r>
                      <a:br>
                        <a:rPr kumimoji="0" lang="en-US" sz="980" b="0" i="0" u="none" strike="noStrike" kern="0" cap="none" spc="0" normalizeH="0" baseline="0" noProof="0" dirty="0">
                          <a:ln>
                            <a:noFill/>
                          </a:ln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Arial Unicode MS" panose="020B0604020202020204" pitchFamily="34" charset="-128"/>
                          <a:cs typeface="Segoe UI Light" panose="020B0502040204020203" pitchFamily="34" charset="0"/>
                        </a:rPr>
                      </a:br>
                      <a:r>
                        <a:rPr kumimoji="0" lang="en-US" sz="980" b="0" i="0" u="none" strike="noStrike" kern="0" cap="none" spc="0" normalizeH="0" baseline="0" noProof="0" dirty="0">
                          <a:ln>
                            <a:noFill/>
                          </a:ln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Arial Unicode MS" panose="020B0604020202020204" pitchFamily="34" charset="-128"/>
                          <a:cs typeface="Segoe UI Light" panose="020B0502040204020203" pitchFamily="34" charset="0"/>
                        </a:rPr>
                        <a:t>Apps</a:t>
                      </a:r>
                    </a:p>
                  </p:txBody>
                </p:sp>
                <p:pic>
                  <p:nvPicPr>
                    <p:cNvPr id="455" name="Picture 153"/>
                    <p:cNvPicPr>
                      <a:picLocks noChangeAspect="1"/>
                    </p:cNvPicPr>
                    <p:nvPr/>
                  </p:nvPicPr>
                  <p:blipFill>
                    <a:blip r:embed="rId11" cstate="print">
                      <a:biLevel thresh="25000"/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rcRect/>
                    <a:stretch>
                      <a:fillRect/>
                    </a:stretch>
                  </p:blipFill>
                  <p:spPr bwMode="auto">
                    <a:xfrm>
                      <a:off x="4516491" y="1514601"/>
                      <a:ext cx="291075" cy="291190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</p:pic>
              </p:grpSp>
              <p:grpSp>
                <p:nvGrpSpPr>
                  <p:cNvPr id="442" name="Group 441"/>
                  <p:cNvGrpSpPr/>
                  <p:nvPr/>
                </p:nvGrpSpPr>
                <p:grpSpPr>
                  <a:xfrm>
                    <a:off x="6846369" y="1044910"/>
                    <a:ext cx="1017770" cy="301625"/>
                    <a:chOff x="6784198" y="987352"/>
                    <a:chExt cx="1017770" cy="301625"/>
                  </a:xfrm>
                </p:grpSpPr>
                <p:sp>
                  <p:nvSpPr>
                    <p:cNvPr id="452" name="TextBox 451"/>
                    <p:cNvSpPr txBox="1"/>
                    <p:nvPr/>
                  </p:nvSpPr>
                  <p:spPr bwMode="auto">
                    <a:xfrm>
                      <a:off x="7143156" y="987352"/>
                      <a:ext cx="658812" cy="301625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txBody>
                    <a:bodyPr wrap="none" lIns="0" tIns="27971" rIns="0" bIns="0" anchor="ctr" anchorCtr="0"/>
                    <a:lstStyle>
                      <a:defPPr>
                        <a:defRPr lang="en-US"/>
                      </a:defPPr>
                      <a:lvl1pPr defTabSz="932317">
                        <a:lnSpc>
                          <a:spcPct val="90000"/>
                        </a:lnSpc>
                        <a:spcBef>
                          <a:spcPts val="600"/>
                        </a:spcBef>
                        <a:defRPr sz="1000">
                          <a:gradFill>
                            <a:gsLst>
                              <a:gs pos="76250">
                                <a:schemeClr val="bg1"/>
                              </a:gs>
                              <a:gs pos="31000">
                                <a:schemeClr val="bg1"/>
                              </a:gs>
                            </a:gsLst>
                            <a:lin ang="5400000" scaled="0"/>
                          </a:gradFill>
                          <a:latin typeface="+mn-lt"/>
                          <a:ea typeface="Arial Unicode MS" panose="020B0604020202020204" pitchFamily="34" charset="-128"/>
                          <a:cs typeface="Segoe UI Light" panose="020B0502040204020203" pitchFamily="34" charset="0"/>
                        </a:defRPr>
                      </a:lvl1pPr>
                    </a:lstStyle>
                    <a:p>
                      <a:pPr marL="0" marR="0" lvl="0" indent="0" defTabSz="913950" eaLnBrk="0" fontAlgn="base" latinLnBrk="0" hangingPunct="0">
                        <a:lnSpc>
                          <a:spcPct val="90000"/>
                        </a:lnSpc>
                        <a:spcBef>
                          <a:spcPts val="588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80" b="0" i="0" u="none" strike="noStrike" kern="0" cap="none" spc="0" normalizeH="0" baseline="0" noProof="0" dirty="0">
                          <a:ln>
                            <a:noFill/>
                          </a:ln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Arial Unicode MS" panose="020B0604020202020204" pitchFamily="34" charset="-128"/>
                          <a:cs typeface="Segoe UI Light" panose="020B0502040204020203" pitchFamily="34" charset="0"/>
                        </a:rPr>
                        <a:t>API</a:t>
                      </a:r>
                      <a:br>
                        <a:rPr kumimoji="0" lang="en-US" sz="980" b="0" i="0" u="none" strike="noStrike" kern="0" cap="none" spc="0" normalizeH="0" baseline="0" noProof="0" dirty="0">
                          <a:ln>
                            <a:noFill/>
                          </a:ln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Arial Unicode MS" panose="020B0604020202020204" pitchFamily="34" charset="-128"/>
                          <a:cs typeface="Segoe UI Light" panose="020B0502040204020203" pitchFamily="34" charset="0"/>
                        </a:rPr>
                      </a:br>
                      <a:r>
                        <a:rPr kumimoji="0" lang="en-US" sz="980" b="0" i="0" u="none" strike="noStrike" kern="0" cap="none" spc="0" normalizeH="0" baseline="0" noProof="0" dirty="0">
                          <a:ln>
                            <a:noFill/>
                          </a:ln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Arial Unicode MS" panose="020B0604020202020204" pitchFamily="34" charset="-128"/>
                          <a:cs typeface="Segoe UI Light" panose="020B0502040204020203" pitchFamily="34" charset="0"/>
                        </a:rPr>
                        <a:t>Management</a:t>
                      </a:r>
                    </a:p>
                  </p:txBody>
                </p:sp>
                <p:pic>
                  <p:nvPicPr>
                    <p:cNvPr id="453" name="Picture 155"/>
                    <p:cNvPicPr>
                      <a:picLocks noChangeAspect="1"/>
                    </p:cNvPicPr>
                    <p:nvPr/>
                  </p:nvPicPr>
                  <p:blipFill>
                    <a:blip r:embed="rId12" cstate="print">
                      <a:biLevel thresh="25000"/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rcRect/>
                    <a:stretch>
                      <a:fillRect/>
                    </a:stretch>
                  </p:blipFill>
                  <p:spPr bwMode="auto">
                    <a:xfrm>
                      <a:off x="6784198" y="987819"/>
                      <a:ext cx="291528" cy="291644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</p:pic>
              </p:grpSp>
              <p:grpSp>
                <p:nvGrpSpPr>
                  <p:cNvPr id="443" name="Group 442"/>
                  <p:cNvGrpSpPr/>
                  <p:nvPr/>
                </p:nvGrpSpPr>
                <p:grpSpPr>
                  <a:xfrm>
                    <a:off x="5673359" y="1051631"/>
                    <a:ext cx="1019983" cy="294904"/>
                    <a:chOff x="5648693" y="1000311"/>
                    <a:chExt cx="1019983" cy="294904"/>
                  </a:xfrm>
                </p:grpSpPr>
                <p:sp>
                  <p:nvSpPr>
                    <p:cNvPr id="450" name="TextBox 449"/>
                    <p:cNvSpPr txBox="1"/>
                    <p:nvPr/>
                  </p:nvSpPr>
                  <p:spPr bwMode="auto">
                    <a:xfrm>
                      <a:off x="6008276" y="1024727"/>
                      <a:ext cx="660400" cy="257175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txBody>
                    <a:bodyPr wrap="none" lIns="0" tIns="27971" rIns="0" bIns="0" anchor="ctr" anchorCtr="0"/>
                    <a:lstStyle>
                      <a:defPPr>
                        <a:defRPr lang="en-US"/>
                      </a:defPPr>
                      <a:lvl1pPr defTabSz="932317">
                        <a:lnSpc>
                          <a:spcPct val="90000"/>
                        </a:lnSpc>
                        <a:spcBef>
                          <a:spcPts val="600"/>
                        </a:spcBef>
                        <a:defRPr sz="1000">
                          <a:gradFill>
                            <a:gsLst>
                              <a:gs pos="76250">
                                <a:schemeClr val="bg1"/>
                              </a:gs>
                              <a:gs pos="31000">
                                <a:schemeClr val="bg1"/>
                              </a:gs>
                            </a:gsLst>
                            <a:lin ang="5400000" scaled="0"/>
                          </a:gradFill>
                          <a:latin typeface="+mn-lt"/>
                          <a:ea typeface="Arial Unicode MS" panose="020B0604020202020204" pitchFamily="34" charset="-128"/>
                          <a:cs typeface="Segoe UI Light" panose="020B0502040204020203" pitchFamily="34" charset="0"/>
                        </a:defRPr>
                      </a:lvl1pPr>
                    </a:lstStyle>
                    <a:p>
                      <a:pPr marL="0" marR="0" lvl="0" indent="0" defTabSz="913950" eaLnBrk="0" fontAlgn="base" latinLnBrk="0" hangingPunct="0">
                        <a:lnSpc>
                          <a:spcPct val="90000"/>
                        </a:lnSpc>
                        <a:spcBef>
                          <a:spcPts val="588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80" b="0" i="0" u="none" strike="noStrike" kern="0" cap="none" spc="0" normalizeH="0" baseline="0" noProof="0" dirty="0">
                          <a:ln>
                            <a:noFill/>
                          </a:ln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Arial Unicode MS" panose="020B0604020202020204" pitchFamily="34" charset="-128"/>
                          <a:cs typeface="Segoe UI Light" panose="020B0502040204020203" pitchFamily="34" charset="0"/>
                        </a:rPr>
                        <a:t>API</a:t>
                      </a:r>
                      <a:br>
                        <a:rPr kumimoji="0" lang="en-US" sz="980" b="0" i="0" u="none" strike="noStrike" kern="0" cap="none" spc="0" normalizeH="0" baseline="0" noProof="0" dirty="0">
                          <a:ln>
                            <a:noFill/>
                          </a:ln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Arial Unicode MS" panose="020B0604020202020204" pitchFamily="34" charset="-128"/>
                          <a:cs typeface="Segoe UI Light" panose="020B0502040204020203" pitchFamily="34" charset="0"/>
                        </a:rPr>
                      </a:br>
                      <a:r>
                        <a:rPr kumimoji="0" lang="en-US" sz="980" b="0" i="0" u="none" strike="noStrike" kern="0" cap="none" spc="0" normalizeH="0" baseline="0" noProof="0" dirty="0">
                          <a:ln>
                            <a:noFill/>
                          </a:ln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Arial Unicode MS" panose="020B0604020202020204" pitchFamily="34" charset="-128"/>
                          <a:cs typeface="Segoe UI Light" panose="020B0502040204020203" pitchFamily="34" charset="0"/>
                        </a:rPr>
                        <a:t>Apps</a:t>
                      </a:r>
                    </a:p>
                  </p:txBody>
                </p:sp>
                <p:pic>
                  <p:nvPicPr>
                    <p:cNvPr id="451" name="Picture 157"/>
                    <p:cNvPicPr>
                      <a:picLocks noChangeAspect="1"/>
                    </p:cNvPicPr>
                    <p:nvPr/>
                  </p:nvPicPr>
                  <p:blipFill>
                    <a:blip r:embed="rId13" cstate="print">
                      <a:biLevel thresh="25000"/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rcRect/>
                    <a:stretch>
                      <a:fillRect/>
                    </a:stretch>
                  </p:blipFill>
                  <p:spPr bwMode="auto">
                    <a:xfrm>
                      <a:off x="5648693" y="1000311"/>
                      <a:ext cx="294787" cy="294904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</p:pic>
              </p:grpSp>
              <p:grpSp>
                <p:nvGrpSpPr>
                  <p:cNvPr id="444" name="Group 443"/>
                  <p:cNvGrpSpPr/>
                  <p:nvPr/>
                </p:nvGrpSpPr>
                <p:grpSpPr>
                  <a:xfrm>
                    <a:off x="5673359" y="1617114"/>
                    <a:ext cx="1022642" cy="301625"/>
                    <a:chOff x="5646034" y="1516851"/>
                    <a:chExt cx="1022642" cy="301625"/>
                  </a:xfrm>
                </p:grpSpPr>
                <p:sp>
                  <p:nvSpPr>
                    <p:cNvPr id="448" name="TextBox 447"/>
                    <p:cNvSpPr txBox="1"/>
                    <p:nvPr/>
                  </p:nvSpPr>
                  <p:spPr bwMode="auto">
                    <a:xfrm>
                      <a:off x="6008276" y="1516851"/>
                      <a:ext cx="660400" cy="301625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txBody>
                    <a:bodyPr wrap="none" lIns="0" tIns="27971" rIns="0" bIns="0" anchor="ctr" anchorCtr="0"/>
                    <a:lstStyle>
                      <a:defPPr>
                        <a:defRPr lang="en-US"/>
                      </a:defPPr>
                      <a:lvl1pPr defTabSz="932317">
                        <a:lnSpc>
                          <a:spcPct val="90000"/>
                        </a:lnSpc>
                        <a:spcBef>
                          <a:spcPts val="600"/>
                        </a:spcBef>
                        <a:defRPr sz="1000">
                          <a:gradFill>
                            <a:gsLst>
                              <a:gs pos="76250">
                                <a:schemeClr val="bg1"/>
                              </a:gs>
                              <a:gs pos="31000">
                                <a:schemeClr val="bg1"/>
                              </a:gs>
                            </a:gsLst>
                            <a:lin ang="5400000" scaled="0"/>
                          </a:gradFill>
                          <a:latin typeface="+mn-lt"/>
                          <a:ea typeface="Arial Unicode MS" panose="020B0604020202020204" pitchFamily="34" charset="-128"/>
                          <a:cs typeface="Segoe UI Light" panose="020B0502040204020203" pitchFamily="34" charset="0"/>
                        </a:defRPr>
                      </a:lvl1pPr>
                    </a:lstStyle>
                    <a:p>
                      <a:pPr marL="0" marR="0" lvl="0" indent="0" defTabSz="913950" eaLnBrk="0" fontAlgn="base" latinLnBrk="0" hangingPunct="0">
                        <a:lnSpc>
                          <a:spcPct val="90000"/>
                        </a:lnSpc>
                        <a:spcBef>
                          <a:spcPts val="588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80" b="0" i="0" u="none" strike="noStrike" kern="0" cap="none" spc="0" normalizeH="0" baseline="0" noProof="0" dirty="0">
                          <a:ln>
                            <a:noFill/>
                          </a:ln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Arial Unicode MS" panose="020B0604020202020204" pitchFamily="34" charset="-128"/>
                          <a:cs typeface="Segoe UI Light" panose="020B0502040204020203" pitchFamily="34" charset="0"/>
                        </a:rPr>
                        <a:t>Logic</a:t>
                      </a:r>
                      <a:br>
                        <a:rPr kumimoji="0" lang="en-US" sz="980" b="0" i="0" u="none" strike="noStrike" kern="0" cap="none" spc="0" normalizeH="0" baseline="0" noProof="0" dirty="0">
                          <a:ln>
                            <a:noFill/>
                          </a:ln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Arial Unicode MS" panose="020B0604020202020204" pitchFamily="34" charset="-128"/>
                          <a:cs typeface="Segoe UI Light" panose="020B0502040204020203" pitchFamily="34" charset="0"/>
                        </a:rPr>
                      </a:br>
                      <a:r>
                        <a:rPr kumimoji="0" lang="en-US" sz="980" b="0" i="0" u="none" strike="noStrike" kern="0" cap="none" spc="0" normalizeH="0" baseline="0" noProof="0" dirty="0">
                          <a:ln>
                            <a:noFill/>
                          </a:ln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Arial Unicode MS" panose="020B0604020202020204" pitchFamily="34" charset="-128"/>
                          <a:cs typeface="Segoe UI Light" panose="020B0502040204020203" pitchFamily="34" charset="0"/>
                        </a:rPr>
                        <a:t>Apps</a:t>
                      </a:r>
                    </a:p>
                  </p:txBody>
                </p:sp>
                <p:pic>
                  <p:nvPicPr>
                    <p:cNvPr id="449" name="Picture 159"/>
                    <p:cNvPicPr>
                      <a:picLocks noChangeAspect="1"/>
                    </p:cNvPicPr>
                    <p:nvPr/>
                  </p:nvPicPr>
                  <p:blipFill>
                    <a:blip r:embed="rId14" cstate="print">
                      <a:biLevel thresh="25000"/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rcRect/>
                    <a:stretch>
                      <a:fillRect/>
                    </a:stretch>
                  </p:blipFill>
                  <p:spPr bwMode="auto">
                    <a:xfrm>
                      <a:off x="5646034" y="1517893"/>
                      <a:ext cx="292406" cy="292521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</p:pic>
              </p:grpSp>
              <p:grpSp>
                <p:nvGrpSpPr>
                  <p:cNvPr id="445" name="Group 444"/>
                  <p:cNvGrpSpPr/>
                  <p:nvPr/>
                </p:nvGrpSpPr>
                <p:grpSpPr>
                  <a:xfrm>
                    <a:off x="6846368" y="1617114"/>
                    <a:ext cx="1017771" cy="301625"/>
                    <a:chOff x="6784198" y="1512087"/>
                    <a:chExt cx="1017771" cy="301625"/>
                  </a:xfrm>
                </p:grpSpPr>
                <p:sp>
                  <p:nvSpPr>
                    <p:cNvPr id="446" name="TextBox 445"/>
                    <p:cNvSpPr txBox="1"/>
                    <p:nvPr/>
                  </p:nvSpPr>
                  <p:spPr bwMode="auto">
                    <a:xfrm>
                      <a:off x="7143156" y="1512087"/>
                      <a:ext cx="658813" cy="301625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txBody>
                    <a:bodyPr wrap="none" lIns="0" tIns="27971" rIns="0" bIns="0" anchor="ctr" anchorCtr="0"/>
                    <a:lstStyle>
                      <a:defPPr>
                        <a:defRPr lang="en-US"/>
                      </a:defPPr>
                      <a:lvl1pPr defTabSz="932317">
                        <a:lnSpc>
                          <a:spcPct val="90000"/>
                        </a:lnSpc>
                        <a:spcBef>
                          <a:spcPts val="600"/>
                        </a:spcBef>
                        <a:defRPr sz="1000">
                          <a:gradFill>
                            <a:gsLst>
                              <a:gs pos="76250">
                                <a:schemeClr val="bg1"/>
                              </a:gs>
                              <a:gs pos="31000">
                                <a:schemeClr val="bg1"/>
                              </a:gs>
                            </a:gsLst>
                            <a:lin ang="5400000" scaled="0"/>
                          </a:gradFill>
                          <a:latin typeface="+mn-lt"/>
                          <a:ea typeface="Arial Unicode MS" panose="020B0604020202020204" pitchFamily="34" charset="-128"/>
                          <a:cs typeface="Segoe UI Light" panose="020B0502040204020203" pitchFamily="34" charset="0"/>
                        </a:defRPr>
                      </a:lvl1pPr>
                    </a:lstStyle>
                    <a:p>
                      <a:pPr marL="0" marR="0" lvl="0" indent="0" defTabSz="913950" eaLnBrk="0" fontAlgn="base" latinLnBrk="0" hangingPunct="0">
                        <a:lnSpc>
                          <a:spcPct val="90000"/>
                        </a:lnSpc>
                        <a:spcBef>
                          <a:spcPts val="588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80" b="0" i="0" u="none" strike="noStrike" kern="0" cap="none" spc="0" normalizeH="0" baseline="0" noProof="0" dirty="0">
                          <a:ln>
                            <a:noFill/>
                          </a:ln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Arial Unicode MS" panose="020B0604020202020204" pitchFamily="34" charset="-128"/>
                          <a:cs typeface="Segoe UI Light" panose="020B0502040204020203" pitchFamily="34" charset="0"/>
                        </a:rPr>
                        <a:t>Notification</a:t>
                      </a:r>
                      <a:br>
                        <a:rPr kumimoji="0" lang="en-US" sz="980" b="0" i="0" u="none" strike="noStrike" kern="0" cap="none" spc="0" normalizeH="0" baseline="0" noProof="0" dirty="0">
                          <a:ln>
                            <a:noFill/>
                          </a:ln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Arial Unicode MS" panose="020B0604020202020204" pitchFamily="34" charset="-128"/>
                          <a:cs typeface="Segoe UI Light" panose="020B0502040204020203" pitchFamily="34" charset="0"/>
                        </a:rPr>
                      </a:br>
                      <a:r>
                        <a:rPr kumimoji="0" lang="en-US" sz="980" b="0" i="0" u="none" strike="noStrike" kern="0" cap="none" spc="0" normalizeH="0" baseline="0" noProof="0" dirty="0">
                          <a:ln>
                            <a:noFill/>
                          </a:ln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Arial Unicode MS" panose="020B0604020202020204" pitchFamily="34" charset="-128"/>
                          <a:cs typeface="Segoe UI Light" panose="020B0502040204020203" pitchFamily="34" charset="0"/>
                        </a:rPr>
                        <a:t>Hubs</a:t>
                      </a:r>
                    </a:p>
                  </p:txBody>
                </p:sp>
                <p:pic>
                  <p:nvPicPr>
                    <p:cNvPr id="447" name="Picture 161"/>
                    <p:cNvPicPr>
                      <a:picLocks noChangeAspect="1"/>
                    </p:cNvPicPr>
                    <p:nvPr/>
                  </p:nvPicPr>
                  <p:blipFill>
                    <a:blip r:embed="rId15" cstate="print">
                      <a:biLevel thresh="25000"/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rcRect/>
                    <a:stretch>
                      <a:fillRect/>
                    </a:stretch>
                  </p:blipFill>
                  <p:spPr bwMode="auto">
                    <a:xfrm>
                      <a:off x="6784198" y="1519474"/>
                      <a:ext cx="289246" cy="289360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</p:pic>
              </p:grpSp>
            </p:grpSp>
            <p:grpSp>
              <p:nvGrpSpPr>
                <p:cNvPr id="345" name="Group 344"/>
                <p:cNvGrpSpPr/>
                <p:nvPr/>
              </p:nvGrpSpPr>
              <p:grpSpPr>
                <a:xfrm>
                  <a:off x="2082009" y="3493402"/>
                  <a:ext cx="2491556" cy="839787"/>
                  <a:chOff x="2082009" y="3607702"/>
                  <a:chExt cx="2491556" cy="839787"/>
                </a:xfrm>
              </p:grpSpPr>
              <p:sp>
                <p:nvSpPr>
                  <p:cNvPr id="431" name="Rectangle 430"/>
                  <p:cNvSpPr/>
                  <p:nvPr/>
                </p:nvSpPr>
                <p:spPr bwMode="auto">
                  <a:xfrm>
                    <a:off x="2082009" y="3607702"/>
                    <a:ext cx="2491556" cy="839787"/>
                  </a:xfrm>
                  <a:prstGeom prst="rect">
                    <a:avLst/>
                  </a:prstGeom>
                  <a:solidFill>
                    <a:srgbClr val="0072C6"/>
                  </a:solidFill>
                  <a:ln w="6350" cap="flat" cmpd="sng" algn="ctr">
                    <a:noFill/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  <p:txBody>
                  <a:bodyPr lIns="179285" tIns="143428" rIns="179285" bIns="143428"/>
                  <a:lstStyle/>
                  <a:p>
                    <a:pPr marL="0" marR="0" lvl="0" indent="0" algn="ctr" defTabSz="895923" eaLnBrk="1" fontAlgn="base" latinLnBrk="0" hangingPunct="1">
                      <a:lnSpc>
                        <a:spcPct val="9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176" b="0" i="0" u="none" strike="noStrike" kern="0" cap="none" spc="0" normalizeH="0" baseline="0" noProof="0" dirty="0">
                        <a:ln>
                          <a:noFill/>
                        </a:ln>
                        <a:gradFill>
                          <a:gsLst>
                            <a:gs pos="76250">
                              <a:srgbClr val="FFFFFF"/>
                            </a:gs>
                            <a:gs pos="31000">
                              <a:srgbClr val="FFFFFF"/>
                            </a:gs>
                          </a:gsLst>
                          <a:lin ang="5400000" scaled="0"/>
                        </a:gradFill>
                        <a:effectLst/>
                        <a:uLnTx/>
                        <a:uFillTx/>
                        <a:latin typeface="Segoe UI Semibold" panose="020B0702040204020203" pitchFamily="34" charset="0"/>
                        <a:ea typeface="Segoe UI" pitchFamily="34" charset="0"/>
                        <a:cs typeface="Segoe UI Semibold" panose="020B0702040204020203" pitchFamily="34" charset="0"/>
                      </a:rPr>
                      <a:t>Media and CDN</a:t>
                    </a:r>
                  </a:p>
                </p:txBody>
              </p:sp>
              <p:grpSp>
                <p:nvGrpSpPr>
                  <p:cNvPr id="432" name="Group 431"/>
                  <p:cNvGrpSpPr/>
                  <p:nvPr/>
                </p:nvGrpSpPr>
                <p:grpSpPr>
                  <a:xfrm>
                    <a:off x="2198592" y="4014101"/>
                    <a:ext cx="2079086" cy="300855"/>
                    <a:chOff x="2198592" y="4014101"/>
                    <a:chExt cx="2079086" cy="300855"/>
                  </a:xfrm>
                </p:grpSpPr>
                <p:grpSp>
                  <p:nvGrpSpPr>
                    <p:cNvPr id="433" name="Group 342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3256056" y="4014101"/>
                      <a:ext cx="1021622" cy="300855"/>
                      <a:chOff x="3495416" y="3743131"/>
                      <a:chExt cx="1021282" cy="301105"/>
                    </a:xfrm>
                  </p:grpSpPr>
                  <p:sp>
                    <p:nvSpPr>
                      <p:cNvPr id="437" name="TextBox 162"/>
                      <p:cNvSpPr txBox="1">
                        <a:spLocks noChangeArrowheads="1"/>
                      </p:cNvSpPr>
                      <p:nvPr/>
                    </p:nvSpPr>
                    <p:spPr bwMode="auto">
                      <a:xfrm>
                        <a:off x="3857542" y="3743131"/>
                        <a:ext cx="659156" cy="30110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  <p:txBody>
                      <a:bodyPr wrap="none" lIns="0" tIns="27971" rIns="0" bIns="0" anchor="ctr" anchorCtr="0"/>
                      <a:lstStyle>
                        <a:defPPr>
                          <a:defRPr lang="en-US"/>
                        </a:defPPr>
                        <a:lvl1pPr defTabSz="932317">
                          <a:lnSpc>
                            <a:spcPct val="90000"/>
                          </a:lnSpc>
                          <a:spcBef>
                            <a:spcPts val="600"/>
                          </a:spcBef>
                          <a:defRPr sz="1000">
                            <a:gradFill>
                              <a:gsLst>
                                <a:gs pos="76250">
                                  <a:schemeClr val="bg1"/>
                                </a:gs>
                                <a:gs pos="31000">
                                  <a:schemeClr val="bg1"/>
                                </a:gs>
                              </a:gsLst>
                              <a:lin ang="5400000" scaled="0"/>
                            </a:gradFill>
                            <a:latin typeface="+mn-lt"/>
                            <a:ea typeface="Arial Unicode MS" panose="020B0604020202020204" pitchFamily="34" charset="-128"/>
                            <a:cs typeface="Segoe UI Light" panose="020B0502040204020203" pitchFamily="34" charset="0"/>
                          </a:defRPr>
                        </a:lvl1pPr>
                      </a:lstStyle>
                      <a:p>
                        <a:pPr marL="0" marR="0" lvl="0" indent="0" defTabSz="913950" eaLnBrk="0" fontAlgn="base" latinLnBrk="0" hangingPunct="0">
                          <a:lnSpc>
                            <a:spcPct val="90000"/>
                          </a:lnSpc>
                          <a:spcBef>
                            <a:spcPts val="588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US" altLang="en-US" sz="882" b="0" i="0" u="none" strike="noStrike" kern="0" cap="none" spc="0" normalizeH="0" baseline="0" noProof="0" dirty="0">
                            <a:ln>
                              <a:noFill/>
                            </a:ln>
                            <a:gradFill>
                              <a:gsLst>
                                <a:gs pos="76250">
                                  <a:srgbClr val="FFFFFF"/>
                                </a:gs>
                                <a:gs pos="31000">
                                  <a:srgbClr val="FFFFFF"/>
                                </a:gs>
                              </a:gsLst>
                              <a:lin ang="5400000" scaled="0"/>
                            </a:gradFill>
                            <a:effectLst/>
                            <a:uLnTx/>
                            <a:uFillTx/>
                            <a:latin typeface="Segoe UI"/>
                            <a:ea typeface="Arial Unicode MS" panose="020B0604020202020204" pitchFamily="34" charset="-128"/>
                            <a:cs typeface="Segoe UI Light" panose="020B0502040204020203" pitchFamily="34" charset="0"/>
                          </a:rPr>
                          <a:t>Content Delivery</a:t>
                        </a:r>
                        <a:br>
                          <a:rPr kumimoji="0" lang="en-US" altLang="en-US" sz="882" b="0" i="0" u="none" strike="noStrike" kern="0" cap="none" spc="0" normalizeH="0" baseline="0" noProof="0" dirty="0">
                            <a:ln>
                              <a:noFill/>
                            </a:ln>
                            <a:gradFill>
                              <a:gsLst>
                                <a:gs pos="76250">
                                  <a:srgbClr val="FFFFFF"/>
                                </a:gs>
                                <a:gs pos="31000">
                                  <a:srgbClr val="FFFFFF"/>
                                </a:gs>
                              </a:gsLst>
                              <a:lin ang="5400000" scaled="0"/>
                            </a:gradFill>
                            <a:effectLst/>
                            <a:uLnTx/>
                            <a:uFillTx/>
                            <a:latin typeface="Segoe UI"/>
                            <a:ea typeface="Arial Unicode MS" panose="020B0604020202020204" pitchFamily="34" charset="-128"/>
                            <a:cs typeface="Segoe UI Light" panose="020B0502040204020203" pitchFamily="34" charset="0"/>
                          </a:rPr>
                        </a:br>
                        <a:r>
                          <a:rPr kumimoji="0" lang="en-US" altLang="en-US" sz="882" b="0" i="0" u="none" strike="noStrike" kern="0" cap="none" spc="0" normalizeH="0" baseline="0" noProof="0" dirty="0">
                            <a:ln>
                              <a:noFill/>
                            </a:ln>
                            <a:gradFill>
                              <a:gsLst>
                                <a:gs pos="76250">
                                  <a:srgbClr val="FFFFFF"/>
                                </a:gs>
                                <a:gs pos="31000">
                                  <a:srgbClr val="FFFFFF"/>
                                </a:gs>
                              </a:gsLst>
                              <a:lin ang="5400000" scaled="0"/>
                            </a:gradFill>
                            <a:effectLst/>
                            <a:uLnTx/>
                            <a:uFillTx/>
                            <a:latin typeface="Segoe UI"/>
                            <a:ea typeface="Arial Unicode MS" panose="020B0604020202020204" pitchFamily="34" charset="-128"/>
                            <a:cs typeface="Segoe UI Light" panose="020B0502040204020203" pitchFamily="34" charset="0"/>
                          </a:rPr>
                          <a:t>Network (CDN)</a:t>
                        </a:r>
                      </a:p>
                    </p:txBody>
                  </p:sp>
                  <p:pic>
                    <p:nvPicPr>
                      <p:cNvPr id="438" name="Picture 163" descr="Content Delivery Network (CDN).png"/>
                      <p:cNvPicPr>
                        <a:picLocks noChangeAspect="1"/>
                      </p:cNvPicPr>
                      <p:nvPr/>
                    </p:nvPicPr>
                    <p:blipFill>
                      <a:blip r:embed="rId16" cstate="print">
                        <a:biLevel thresh="25000"/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495416" y="3745605"/>
                        <a:ext cx="296167" cy="29616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grpSp>
                <p:grpSp>
                  <p:nvGrpSpPr>
                    <p:cNvPr id="434" name="Group 341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2198592" y="4014101"/>
                      <a:ext cx="1014521" cy="300036"/>
                      <a:chOff x="2682792" y="3748793"/>
                      <a:chExt cx="1014184" cy="300286"/>
                    </a:xfrm>
                  </p:grpSpPr>
                  <p:sp>
                    <p:nvSpPr>
                      <p:cNvPr id="435" name="TextBox 434"/>
                      <p:cNvSpPr txBox="1"/>
                      <p:nvPr/>
                    </p:nvSpPr>
                    <p:spPr>
                      <a:xfrm>
                        <a:off x="3038382" y="3748793"/>
                        <a:ext cx="658594" cy="30028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  <p:txBody>
                      <a:bodyPr wrap="none" lIns="0" tIns="27971" rIns="0" bIns="0" anchor="ctr" anchorCtr="0"/>
                      <a:lstStyle>
                        <a:defPPr>
                          <a:defRPr lang="en-US"/>
                        </a:defPPr>
                        <a:lvl1pPr defTabSz="932317">
                          <a:lnSpc>
                            <a:spcPct val="90000"/>
                          </a:lnSpc>
                          <a:spcBef>
                            <a:spcPts val="600"/>
                          </a:spcBef>
                          <a:defRPr sz="1000">
                            <a:gradFill>
                              <a:gsLst>
                                <a:gs pos="76250">
                                  <a:schemeClr val="bg1"/>
                                </a:gs>
                                <a:gs pos="31000">
                                  <a:schemeClr val="bg1"/>
                                </a:gs>
                              </a:gsLst>
                              <a:lin ang="5400000" scaled="0"/>
                            </a:gradFill>
                            <a:latin typeface="+mn-lt"/>
                            <a:ea typeface="Arial Unicode MS" panose="020B0604020202020204" pitchFamily="34" charset="-128"/>
                            <a:cs typeface="Segoe UI Light" panose="020B0502040204020203" pitchFamily="34" charset="0"/>
                          </a:defRPr>
                        </a:lvl1pPr>
                      </a:lstStyle>
                      <a:p>
                        <a:pPr marL="0" marR="0" lvl="0" indent="0" defTabSz="913950" eaLnBrk="0" fontAlgn="base" latinLnBrk="0" hangingPunct="0">
                          <a:lnSpc>
                            <a:spcPct val="90000"/>
                          </a:lnSpc>
                          <a:spcBef>
                            <a:spcPts val="588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US" sz="980" b="0" i="0" u="none" strike="noStrike" kern="0" cap="none" spc="0" normalizeH="0" baseline="0" noProof="0" dirty="0">
                            <a:ln>
                              <a:noFill/>
                            </a:ln>
                            <a:gradFill>
                              <a:gsLst>
                                <a:gs pos="76250">
                                  <a:srgbClr val="FFFFFF"/>
                                </a:gs>
                                <a:gs pos="31000">
                                  <a:srgbClr val="FFFFFF"/>
                                </a:gs>
                              </a:gsLst>
                              <a:lin ang="5400000" scaled="0"/>
                            </a:gradFill>
                            <a:effectLst/>
                            <a:uLnTx/>
                            <a:uFillTx/>
                            <a:latin typeface="Segoe UI"/>
                            <a:ea typeface="Arial Unicode MS" panose="020B0604020202020204" pitchFamily="34" charset="-128"/>
                            <a:cs typeface="Segoe UI Light" panose="020B0502040204020203" pitchFamily="34" charset="0"/>
                          </a:rPr>
                          <a:t>Media</a:t>
                        </a:r>
                        <a:br>
                          <a:rPr kumimoji="0" lang="en-US" sz="980" b="0" i="0" u="none" strike="noStrike" kern="0" cap="none" spc="0" normalizeH="0" baseline="0" noProof="0" dirty="0">
                            <a:ln>
                              <a:noFill/>
                            </a:ln>
                            <a:gradFill>
                              <a:gsLst>
                                <a:gs pos="76250">
                                  <a:srgbClr val="FFFFFF"/>
                                </a:gs>
                                <a:gs pos="31000">
                                  <a:srgbClr val="FFFFFF"/>
                                </a:gs>
                              </a:gsLst>
                              <a:lin ang="5400000" scaled="0"/>
                            </a:gradFill>
                            <a:effectLst/>
                            <a:uLnTx/>
                            <a:uFillTx/>
                            <a:latin typeface="Segoe UI"/>
                            <a:ea typeface="Arial Unicode MS" panose="020B0604020202020204" pitchFamily="34" charset="-128"/>
                            <a:cs typeface="Segoe UI Light" panose="020B0502040204020203" pitchFamily="34" charset="0"/>
                          </a:rPr>
                        </a:br>
                        <a:r>
                          <a:rPr kumimoji="0" lang="en-US" sz="980" b="0" i="0" u="none" strike="noStrike" kern="0" cap="none" spc="0" normalizeH="0" baseline="0" noProof="0" dirty="0">
                            <a:ln>
                              <a:noFill/>
                            </a:ln>
                            <a:gradFill>
                              <a:gsLst>
                                <a:gs pos="76250">
                                  <a:srgbClr val="FFFFFF"/>
                                </a:gs>
                                <a:gs pos="31000">
                                  <a:srgbClr val="FFFFFF"/>
                                </a:gs>
                              </a:gsLst>
                              <a:lin ang="5400000" scaled="0"/>
                            </a:gradFill>
                            <a:effectLst/>
                            <a:uLnTx/>
                            <a:uFillTx/>
                            <a:latin typeface="Segoe UI"/>
                            <a:ea typeface="Arial Unicode MS" panose="020B0604020202020204" pitchFamily="34" charset="-128"/>
                            <a:cs typeface="Segoe UI Light" panose="020B0502040204020203" pitchFamily="34" charset="0"/>
                          </a:rPr>
                          <a:t>Services</a:t>
                        </a:r>
                      </a:p>
                    </p:txBody>
                  </p:sp>
                  <p:pic>
                    <p:nvPicPr>
                      <p:cNvPr id="436" name="Picture 165" descr="Media Services.png"/>
                      <p:cNvPicPr>
                        <a:picLocks noChangeAspect="1"/>
                      </p:cNvPicPr>
                      <p:nvPr/>
                    </p:nvPicPr>
                    <p:blipFill>
                      <a:blip r:embed="rId17" cstate="print">
                        <a:biLevel thresh="25000"/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682792" y="3757863"/>
                        <a:ext cx="282134" cy="28213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grpSp>
              </p:grpSp>
            </p:grpSp>
            <p:grpSp>
              <p:nvGrpSpPr>
                <p:cNvPr id="346" name="Group 345"/>
                <p:cNvGrpSpPr/>
                <p:nvPr/>
              </p:nvGrpSpPr>
              <p:grpSpPr>
                <a:xfrm>
                  <a:off x="4695531" y="2024565"/>
                  <a:ext cx="2872932" cy="2304638"/>
                  <a:chOff x="4691833" y="2138865"/>
                  <a:chExt cx="2872932" cy="2304638"/>
                </a:xfrm>
              </p:grpSpPr>
              <p:sp>
                <p:nvSpPr>
                  <p:cNvPr id="411" name="Rectangle 410"/>
                  <p:cNvSpPr/>
                  <p:nvPr/>
                </p:nvSpPr>
                <p:spPr bwMode="auto">
                  <a:xfrm>
                    <a:off x="4691833" y="2138865"/>
                    <a:ext cx="2872932" cy="2304638"/>
                  </a:xfrm>
                  <a:prstGeom prst="rect">
                    <a:avLst/>
                  </a:prstGeom>
                  <a:solidFill>
                    <a:srgbClr val="0072C6"/>
                  </a:solidFill>
                  <a:ln w="6350" cap="flat" cmpd="sng" algn="ctr">
                    <a:noFill/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  <p:txBody>
                  <a:bodyPr lIns="179285" tIns="143428" rIns="179285" bIns="143428"/>
                  <a:lstStyle/>
                  <a:p>
                    <a:pPr marL="0" marR="0" lvl="0" indent="0" algn="ctr" defTabSz="895923" eaLnBrk="1" fontAlgn="base" latinLnBrk="0" hangingPunct="1">
                      <a:lnSpc>
                        <a:spcPct val="9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176" b="0" i="0" u="none" strike="noStrike" kern="0" cap="none" spc="0" normalizeH="0" baseline="0" noProof="0" dirty="0">
                        <a:ln>
                          <a:noFill/>
                        </a:ln>
                        <a:gradFill>
                          <a:gsLst>
                            <a:gs pos="76250">
                              <a:srgbClr val="FFFFFF"/>
                            </a:gs>
                            <a:gs pos="31000">
                              <a:srgbClr val="FFFFFF"/>
                            </a:gs>
                          </a:gsLst>
                          <a:lin ang="5400000" scaled="0"/>
                        </a:gradFill>
                        <a:effectLst/>
                        <a:uLnTx/>
                        <a:uFillTx/>
                        <a:latin typeface="Segoe UI Semibold" panose="020B0702040204020203" pitchFamily="34" charset="0"/>
                        <a:ea typeface="Segoe UI" pitchFamily="34" charset="0"/>
                        <a:cs typeface="Segoe UI Semibold" panose="020B0702040204020203" pitchFamily="34" charset="0"/>
                      </a:rPr>
                      <a:t>Analytics and </a:t>
                    </a:r>
                    <a:r>
                      <a:rPr kumimoji="0" lang="en-US" sz="1176" b="0" i="0" u="none" strike="noStrike" kern="0" cap="none" spc="0" normalizeH="0" baseline="0" noProof="0" dirty="0" err="1">
                        <a:ln>
                          <a:noFill/>
                        </a:ln>
                        <a:gradFill>
                          <a:gsLst>
                            <a:gs pos="76250">
                              <a:srgbClr val="FFFFFF"/>
                            </a:gs>
                            <a:gs pos="31000">
                              <a:srgbClr val="FFFFFF"/>
                            </a:gs>
                          </a:gsLst>
                          <a:lin ang="5400000" scaled="0"/>
                        </a:gradFill>
                        <a:effectLst/>
                        <a:uLnTx/>
                        <a:uFillTx/>
                        <a:latin typeface="Segoe UI Semibold" panose="020B0702040204020203" pitchFamily="34" charset="0"/>
                        <a:ea typeface="Segoe UI" pitchFamily="34" charset="0"/>
                        <a:cs typeface="Segoe UI Semibold" panose="020B0702040204020203" pitchFamily="34" charset="0"/>
                      </a:rPr>
                      <a:t>IoT</a:t>
                    </a:r>
                    <a:endParaRPr kumimoji="0" lang="en-US" sz="1176" b="0" i="0" u="none" strike="noStrike" kern="0" cap="none" spc="0" normalizeH="0" baseline="0" noProof="0" dirty="0">
                      <a:ln>
                        <a:noFill/>
                      </a:ln>
                      <a:gradFill>
                        <a:gsLst>
                          <a:gs pos="76250">
                            <a:srgbClr val="FFFFFF"/>
                          </a:gs>
                          <a:gs pos="31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 Semibold" panose="020B0702040204020203" pitchFamily="34" charset="0"/>
                      <a:ea typeface="Segoe UI" pitchFamily="34" charset="0"/>
                      <a:cs typeface="Segoe UI Semibold" panose="020B0702040204020203" pitchFamily="34" charset="0"/>
                    </a:endParaRPr>
                  </a:p>
                </p:txBody>
              </p:sp>
              <p:grpSp>
                <p:nvGrpSpPr>
                  <p:cNvPr id="412" name="Group 411"/>
                  <p:cNvGrpSpPr/>
                  <p:nvPr/>
                </p:nvGrpSpPr>
                <p:grpSpPr>
                  <a:xfrm>
                    <a:off x="4948498" y="2556851"/>
                    <a:ext cx="2361121" cy="1587740"/>
                    <a:chOff x="4805017" y="2556851"/>
                    <a:chExt cx="2361121" cy="1587740"/>
                  </a:xfrm>
                </p:grpSpPr>
                <p:grpSp>
                  <p:nvGrpSpPr>
                    <p:cNvPr id="413" name="Group 412"/>
                    <p:cNvGrpSpPr/>
                    <p:nvPr/>
                  </p:nvGrpSpPr>
                  <p:grpSpPr>
                    <a:xfrm>
                      <a:off x="4811883" y="2556851"/>
                      <a:ext cx="1046240" cy="337079"/>
                      <a:chOff x="4811883" y="2556851"/>
                      <a:chExt cx="1046240" cy="337079"/>
                    </a:xfrm>
                  </p:grpSpPr>
                  <p:sp>
                    <p:nvSpPr>
                      <p:cNvPr id="429" name="TextBox 428"/>
                      <p:cNvSpPr txBox="1"/>
                      <p:nvPr/>
                    </p:nvSpPr>
                    <p:spPr bwMode="auto">
                      <a:xfrm>
                        <a:off x="5199310" y="2574578"/>
                        <a:ext cx="658813" cy="3016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  <p:txBody>
                      <a:bodyPr wrap="none" lIns="0" tIns="27971" rIns="0" bIns="0" anchor="ctr" anchorCtr="0"/>
                      <a:lstStyle>
                        <a:defPPr>
                          <a:defRPr lang="en-US"/>
                        </a:defPPr>
                        <a:lvl1pPr defTabSz="932317">
                          <a:lnSpc>
                            <a:spcPct val="90000"/>
                          </a:lnSpc>
                          <a:spcBef>
                            <a:spcPts val="600"/>
                          </a:spcBef>
                          <a:defRPr sz="1000">
                            <a:gradFill>
                              <a:gsLst>
                                <a:gs pos="76250">
                                  <a:schemeClr val="bg1"/>
                                </a:gs>
                                <a:gs pos="31000">
                                  <a:schemeClr val="bg1"/>
                                </a:gs>
                              </a:gsLst>
                              <a:lin ang="5400000" scaled="0"/>
                            </a:gradFill>
                            <a:latin typeface="+mn-lt"/>
                            <a:ea typeface="Arial Unicode MS" panose="020B0604020202020204" pitchFamily="34" charset="-128"/>
                            <a:cs typeface="Segoe UI Light" panose="020B0502040204020203" pitchFamily="34" charset="0"/>
                          </a:defRPr>
                        </a:lvl1pPr>
                      </a:lstStyle>
                      <a:p>
                        <a:pPr marL="0" marR="0" lvl="0" indent="0" defTabSz="913950" eaLnBrk="0" fontAlgn="base" latinLnBrk="0" hangingPunct="0">
                          <a:lnSpc>
                            <a:spcPct val="90000"/>
                          </a:lnSpc>
                          <a:spcBef>
                            <a:spcPts val="588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US" sz="980" b="0" i="0" u="none" strike="noStrike" kern="0" cap="none" spc="0" normalizeH="0" baseline="0" noProof="0" dirty="0" err="1">
                            <a:ln>
                              <a:noFill/>
                            </a:ln>
                            <a:gradFill>
                              <a:gsLst>
                                <a:gs pos="76250">
                                  <a:srgbClr val="FFFFFF"/>
                                </a:gs>
                                <a:gs pos="31000">
                                  <a:srgbClr val="FFFFFF"/>
                                </a:gs>
                              </a:gsLst>
                              <a:lin ang="5400000" scaled="0"/>
                            </a:gradFill>
                            <a:effectLst/>
                            <a:uLnTx/>
                            <a:uFillTx/>
                            <a:latin typeface="Segoe UI"/>
                            <a:ea typeface="Arial Unicode MS" panose="020B0604020202020204" pitchFamily="34" charset="-128"/>
                            <a:cs typeface="Segoe UI Light" panose="020B0502040204020203" pitchFamily="34" charset="0"/>
                          </a:rPr>
                          <a:t>HDInsight</a:t>
                        </a:r>
                        <a:endParaRPr kumimoji="0" lang="en-US" sz="980" b="0" i="0" u="none" strike="noStrike" kern="0" cap="none" spc="0" normalizeH="0" baseline="0" noProof="0" dirty="0">
                          <a:ln>
                            <a:noFill/>
                          </a:ln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Arial Unicode MS" panose="020B0604020202020204" pitchFamily="34" charset="-128"/>
                          <a:cs typeface="Segoe UI Light" panose="020B0502040204020203" pitchFamily="34" charset="0"/>
                        </a:endParaRPr>
                      </a:p>
                    </p:txBody>
                  </p:sp>
                  <p:pic>
                    <p:nvPicPr>
                      <p:cNvPr id="430" name="Picture 181"/>
                      <p:cNvPicPr>
                        <a:picLocks noChangeAspect="1"/>
                      </p:cNvPicPr>
                      <p:nvPr/>
                    </p:nvPicPr>
                    <p:blipFill>
                      <a:blip r:embed="rId18" cstate="print">
                        <a:biLevel thresh="25000"/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811883" y="2556851"/>
                        <a:ext cx="337162" cy="33707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grpSp>
                <p:grpSp>
                  <p:nvGrpSpPr>
                    <p:cNvPr id="414" name="Group 413"/>
                    <p:cNvGrpSpPr/>
                    <p:nvPr/>
                  </p:nvGrpSpPr>
                  <p:grpSpPr>
                    <a:xfrm>
                      <a:off x="6162402" y="2574420"/>
                      <a:ext cx="1003736" cy="301625"/>
                      <a:chOff x="6162402" y="2574420"/>
                      <a:chExt cx="1003736" cy="301625"/>
                    </a:xfrm>
                  </p:grpSpPr>
                  <p:sp>
                    <p:nvSpPr>
                      <p:cNvPr id="427" name="TextBox 426"/>
                      <p:cNvSpPr txBox="1"/>
                      <p:nvPr/>
                    </p:nvSpPr>
                    <p:spPr bwMode="auto">
                      <a:xfrm>
                        <a:off x="6507325" y="2574420"/>
                        <a:ext cx="658813" cy="3016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  <p:txBody>
                      <a:bodyPr wrap="none" lIns="0" tIns="27971" rIns="0" bIns="0" anchor="ctr" anchorCtr="0"/>
                      <a:lstStyle>
                        <a:defPPr>
                          <a:defRPr lang="en-US"/>
                        </a:defPPr>
                        <a:lvl1pPr defTabSz="932317">
                          <a:lnSpc>
                            <a:spcPct val="90000"/>
                          </a:lnSpc>
                          <a:spcBef>
                            <a:spcPts val="600"/>
                          </a:spcBef>
                          <a:defRPr sz="1000">
                            <a:gradFill>
                              <a:gsLst>
                                <a:gs pos="76250">
                                  <a:schemeClr val="bg1"/>
                                </a:gs>
                                <a:gs pos="31000">
                                  <a:schemeClr val="bg1"/>
                                </a:gs>
                              </a:gsLst>
                              <a:lin ang="5400000" scaled="0"/>
                            </a:gradFill>
                            <a:latin typeface="+mn-lt"/>
                            <a:ea typeface="Arial Unicode MS" panose="020B0604020202020204" pitchFamily="34" charset="-128"/>
                            <a:cs typeface="Segoe UI Light" panose="020B0502040204020203" pitchFamily="34" charset="0"/>
                          </a:defRPr>
                        </a:lvl1pPr>
                      </a:lstStyle>
                      <a:p>
                        <a:pPr marL="0" marR="0" lvl="0" indent="0" defTabSz="913950" eaLnBrk="0" fontAlgn="base" latinLnBrk="0" hangingPunct="0">
                          <a:lnSpc>
                            <a:spcPct val="90000"/>
                          </a:lnSpc>
                          <a:spcBef>
                            <a:spcPts val="588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US" sz="980" b="0" i="0" u="none" strike="noStrike" kern="0" cap="none" spc="0" normalizeH="0" baseline="0" noProof="0" dirty="0">
                            <a:ln>
                              <a:noFill/>
                            </a:ln>
                            <a:gradFill>
                              <a:gsLst>
                                <a:gs pos="76250">
                                  <a:srgbClr val="FFFFFF"/>
                                </a:gs>
                                <a:gs pos="31000">
                                  <a:srgbClr val="FFFFFF"/>
                                </a:gs>
                              </a:gsLst>
                              <a:lin ang="5400000" scaled="0"/>
                            </a:gradFill>
                            <a:effectLst/>
                            <a:uLnTx/>
                            <a:uFillTx/>
                            <a:latin typeface="Segoe UI"/>
                            <a:ea typeface="Arial Unicode MS" panose="020B0604020202020204" pitchFamily="34" charset="-128"/>
                            <a:cs typeface="Segoe UI Light" panose="020B0502040204020203" pitchFamily="34" charset="0"/>
                          </a:rPr>
                          <a:t>Machine</a:t>
                        </a:r>
                        <a:br>
                          <a:rPr kumimoji="0" lang="en-US" sz="980" b="0" i="0" u="none" strike="noStrike" kern="0" cap="none" spc="0" normalizeH="0" baseline="0" noProof="0" dirty="0">
                            <a:ln>
                              <a:noFill/>
                            </a:ln>
                            <a:gradFill>
                              <a:gsLst>
                                <a:gs pos="76250">
                                  <a:srgbClr val="FFFFFF"/>
                                </a:gs>
                                <a:gs pos="31000">
                                  <a:srgbClr val="FFFFFF"/>
                                </a:gs>
                              </a:gsLst>
                              <a:lin ang="5400000" scaled="0"/>
                            </a:gradFill>
                            <a:effectLst/>
                            <a:uLnTx/>
                            <a:uFillTx/>
                            <a:latin typeface="Segoe UI"/>
                            <a:ea typeface="Arial Unicode MS" panose="020B0604020202020204" pitchFamily="34" charset="-128"/>
                            <a:cs typeface="Segoe UI Light" panose="020B0502040204020203" pitchFamily="34" charset="0"/>
                          </a:rPr>
                        </a:br>
                        <a:r>
                          <a:rPr kumimoji="0" lang="en-US" sz="980" b="0" i="0" u="none" strike="noStrike" kern="0" cap="none" spc="0" normalizeH="0" baseline="0" noProof="0" dirty="0">
                            <a:ln>
                              <a:noFill/>
                            </a:ln>
                            <a:gradFill>
                              <a:gsLst>
                                <a:gs pos="76250">
                                  <a:srgbClr val="FFFFFF"/>
                                </a:gs>
                                <a:gs pos="31000">
                                  <a:srgbClr val="FFFFFF"/>
                                </a:gs>
                              </a:gsLst>
                              <a:lin ang="5400000" scaled="0"/>
                            </a:gradFill>
                            <a:effectLst/>
                            <a:uLnTx/>
                            <a:uFillTx/>
                            <a:latin typeface="Segoe UI"/>
                            <a:ea typeface="Arial Unicode MS" panose="020B0604020202020204" pitchFamily="34" charset="-128"/>
                            <a:cs typeface="Segoe UI Light" panose="020B0502040204020203" pitchFamily="34" charset="0"/>
                          </a:rPr>
                          <a:t>Learning</a:t>
                        </a:r>
                      </a:p>
                    </p:txBody>
                  </p:sp>
                  <p:pic>
                    <p:nvPicPr>
                      <p:cNvPr id="428" name="Picture 183"/>
                      <p:cNvPicPr>
                        <a:picLocks noChangeAspect="1"/>
                      </p:cNvPicPr>
                      <p:nvPr/>
                    </p:nvPicPr>
                    <p:blipFill>
                      <a:blip r:embed="rId19" cstate="print">
                        <a:biLevel thresh="25000"/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162402" y="2593257"/>
                        <a:ext cx="263720" cy="26365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grpSp>
                <p:grpSp>
                  <p:nvGrpSpPr>
                    <p:cNvPr id="415" name="Group 414"/>
                    <p:cNvGrpSpPr/>
                    <p:nvPr/>
                  </p:nvGrpSpPr>
                  <p:grpSpPr>
                    <a:xfrm>
                      <a:off x="4805017" y="3834139"/>
                      <a:ext cx="1053105" cy="310452"/>
                      <a:chOff x="4805017" y="3834139"/>
                      <a:chExt cx="1053105" cy="310452"/>
                    </a:xfrm>
                  </p:grpSpPr>
                  <p:sp>
                    <p:nvSpPr>
                      <p:cNvPr id="425" name="TextBox 424"/>
                      <p:cNvSpPr txBox="1"/>
                      <p:nvPr/>
                    </p:nvSpPr>
                    <p:spPr bwMode="auto">
                      <a:xfrm>
                        <a:off x="5199310" y="3838553"/>
                        <a:ext cx="658812" cy="3016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  <p:txBody>
                      <a:bodyPr wrap="none" lIns="0" tIns="27971" rIns="0" bIns="0" anchor="ctr" anchorCtr="0"/>
                      <a:lstStyle>
                        <a:defPPr>
                          <a:defRPr lang="en-US"/>
                        </a:defPPr>
                        <a:lvl1pPr defTabSz="932317">
                          <a:lnSpc>
                            <a:spcPct val="90000"/>
                          </a:lnSpc>
                          <a:spcBef>
                            <a:spcPts val="600"/>
                          </a:spcBef>
                          <a:defRPr sz="1000">
                            <a:gradFill>
                              <a:gsLst>
                                <a:gs pos="76250">
                                  <a:schemeClr val="bg1"/>
                                </a:gs>
                                <a:gs pos="31000">
                                  <a:schemeClr val="bg1"/>
                                </a:gs>
                              </a:gsLst>
                              <a:lin ang="5400000" scaled="0"/>
                            </a:gradFill>
                            <a:latin typeface="+mn-lt"/>
                            <a:ea typeface="Arial Unicode MS" panose="020B0604020202020204" pitchFamily="34" charset="-128"/>
                            <a:cs typeface="Segoe UI Light" panose="020B0502040204020203" pitchFamily="34" charset="0"/>
                          </a:defRPr>
                        </a:lvl1pPr>
                      </a:lstStyle>
                      <a:p>
                        <a:pPr marL="0" marR="0" lvl="0" indent="0" defTabSz="913950" eaLnBrk="0" fontAlgn="base" latinLnBrk="0" hangingPunct="0">
                          <a:lnSpc>
                            <a:spcPct val="90000"/>
                          </a:lnSpc>
                          <a:spcBef>
                            <a:spcPts val="588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US" sz="980" b="0" i="0" u="none" strike="noStrike" kern="0" cap="none" spc="0" normalizeH="0" baseline="0" noProof="0" dirty="0">
                            <a:ln>
                              <a:noFill/>
                            </a:ln>
                            <a:gradFill>
                              <a:gsLst>
                                <a:gs pos="76250">
                                  <a:srgbClr val="FFFFFF"/>
                                </a:gs>
                                <a:gs pos="31000">
                                  <a:srgbClr val="FFFFFF"/>
                                </a:gs>
                              </a:gsLst>
                              <a:lin ang="5400000" scaled="0"/>
                            </a:gradFill>
                            <a:effectLst/>
                            <a:uLnTx/>
                            <a:uFillTx/>
                            <a:latin typeface="Segoe UI"/>
                            <a:ea typeface="Arial Unicode MS" panose="020B0604020202020204" pitchFamily="34" charset="-128"/>
                            <a:cs typeface="Segoe UI Light" panose="020B0502040204020203" pitchFamily="34" charset="0"/>
                          </a:rPr>
                          <a:t>Stream</a:t>
                        </a:r>
                        <a:br>
                          <a:rPr kumimoji="0" lang="en-US" sz="980" b="0" i="0" u="none" strike="noStrike" kern="0" cap="none" spc="0" normalizeH="0" baseline="0" noProof="0" dirty="0">
                            <a:ln>
                              <a:noFill/>
                            </a:ln>
                            <a:gradFill>
                              <a:gsLst>
                                <a:gs pos="76250">
                                  <a:srgbClr val="FFFFFF"/>
                                </a:gs>
                                <a:gs pos="31000">
                                  <a:srgbClr val="FFFFFF"/>
                                </a:gs>
                              </a:gsLst>
                              <a:lin ang="5400000" scaled="0"/>
                            </a:gradFill>
                            <a:effectLst/>
                            <a:uLnTx/>
                            <a:uFillTx/>
                            <a:latin typeface="Segoe UI"/>
                            <a:ea typeface="Arial Unicode MS" panose="020B0604020202020204" pitchFamily="34" charset="-128"/>
                            <a:cs typeface="Segoe UI Light" panose="020B0502040204020203" pitchFamily="34" charset="0"/>
                          </a:rPr>
                        </a:br>
                        <a:r>
                          <a:rPr kumimoji="0" lang="en-US" sz="980" b="0" i="0" u="none" strike="noStrike" kern="0" cap="none" spc="0" normalizeH="0" baseline="0" noProof="0" dirty="0">
                            <a:ln>
                              <a:noFill/>
                            </a:ln>
                            <a:gradFill>
                              <a:gsLst>
                                <a:gs pos="76250">
                                  <a:srgbClr val="FFFFFF"/>
                                </a:gs>
                                <a:gs pos="31000">
                                  <a:srgbClr val="FFFFFF"/>
                                </a:gs>
                              </a:gsLst>
                              <a:lin ang="5400000" scaled="0"/>
                            </a:gradFill>
                            <a:effectLst/>
                            <a:uLnTx/>
                            <a:uFillTx/>
                            <a:latin typeface="Segoe UI"/>
                            <a:ea typeface="Arial Unicode MS" panose="020B0604020202020204" pitchFamily="34" charset="-128"/>
                            <a:cs typeface="Segoe UI Light" panose="020B0502040204020203" pitchFamily="34" charset="0"/>
                          </a:rPr>
                          <a:t>Analytics</a:t>
                        </a:r>
                      </a:p>
                    </p:txBody>
                  </p:sp>
                  <p:pic>
                    <p:nvPicPr>
                      <p:cNvPr id="426" name="Picture 185"/>
                      <p:cNvPicPr>
                        <a:picLocks noChangeAspect="1"/>
                      </p:cNvPicPr>
                      <p:nvPr/>
                    </p:nvPicPr>
                    <p:blipFill>
                      <a:blip r:embed="rId20" cstate="print">
                        <a:biLevel thresh="25000"/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805017" y="3834139"/>
                        <a:ext cx="310529" cy="31045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grpSp>
                <p:grpSp>
                  <p:nvGrpSpPr>
                    <p:cNvPr id="416" name="Group 415"/>
                    <p:cNvGrpSpPr/>
                    <p:nvPr/>
                  </p:nvGrpSpPr>
                  <p:grpSpPr>
                    <a:xfrm>
                      <a:off x="4809230" y="3192842"/>
                      <a:ext cx="1048893" cy="305501"/>
                      <a:chOff x="4809230" y="3192842"/>
                      <a:chExt cx="1048893" cy="305501"/>
                    </a:xfrm>
                  </p:grpSpPr>
                  <p:sp>
                    <p:nvSpPr>
                      <p:cNvPr id="423" name="TextBox 422"/>
                      <p:cNvSpPr txBox="1"/>
                      <p:nvPr/>
                    </p:nvSpPr>
                    <p:spPr bwMode="auto">
                      <a:xfrm>
                        <a:off x="5199310" y="3198305"/>
                        <a:ext cx="658813" cy="30003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  <p:txBody>
                      <a:bodyPr wrap="none" lIns="0" tIns="27971" rIns="0" bIns="0" anchor="ctr" anchorCtr="0"/>
                      <a:lstStyle>
                        <a:defPPr>
                          <a:defRPr lang="en-US"/>
                        </a:defPPr>
                        <a:lvl1pPr defTabSz="932317">
                          <a:lnSpc>
                            <a:spcPct val="90000"/>
                          </a:lnSpc>
                          <a:spcBef>
                            <a:spcPts val="600"/>
                          </a:spcBef>
                          <a:defRPr sz="1000">
                            <a:gradFill>
                              <a:gsLst>
                                <a:gs pos="76250">
                                  <a:schemeClr val="bg1"/>
                                </a:gs>
                                <a:gs pos="31000">
                                  <a:schemeClr val="bg1"/>
                                </a:gs>
                              </a:gsLst>
                              <a:lin ang="5400000" scaled="0"/>
                            </a:gradFill>
                            <a:latin typeface="+mn-lt"/>
                            <a:ea typeface="Arial Unicode MS" panose="020B0604020202020204" pitchFamily="34" charset="-128"/>
                            <a:cs typeface="Segoe UI Light" panose="020B0502040204020203" pitchFamily="34" charset="0"/>
                          </a:defRPr>
                        </a:lvl1pPr>
                      </a:lstStyle>
                      <a:p>
                        <a:pPr marL="0" marR="0" lvl="0" indent="0" defTabSz="913950" eaLnBrk="0" fontAlgn="base" latinLnBrk="0" hangingPunct="0">
                          <a:lnSpc>
                            <a:spcPct val="90000"/>
                          </a:lnSpc>
                          <a:spcBef>
                            <a:spcPts val="588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US" sz="980" b="0" i="0" u="none" strike="noStrike" kern="0" cap="none" spc="0" normalizeH="0" baseline="0" noProof="0" dirty="0">
                            <a:ln>
                              <a:noFill/>
                            </a:ln>
                            <a:gradFill>
                              <a:gsLst>
                                <a:gs pos="76250">
                                  <a:srgbClr val="FFFFFF"/>
                                </a:gs>
                                <a:gs pos="31000">
                                  <a:srgbClr val="FFFFFF"/>
                                </a:gs>
                              </a:gsLst>
                              <a:lin ang="5400000" scaled="0"/>
                            </a:gradFill>
                            <a:effectLst/>
                            <a:uLnTx/>
                            <a:uFillTx/>
                            <a:latin typeface="Segoe UI"/>
                            <a:ea typeface="Arial Unicode MS" panose="020B0604020202020204" pitchFamily="34" charset="-128"/>
                            <a:cs typeface="Segoe UI Light" panose="020B0502040204020203" pitchFamily="34" charset="0"/>
                          </a:rPr>
                          <a:t>Data</a:t>
                        </a:r>
                        <a:br>
                          <a:rPr kumimoji="0" lang="en-US" sz="980" b="0" i="0" u="none" strike="noStrike" kern="0" cap="none" spc="0" normalizeH="0" baseline="0" noProof="0" dirty="0">
                            <a:ln>
                              <a:noFill/>
                            </a:ln>
                            <a:gradFill>
                              <a:gsLst>
                                <a:gs pos="76250">
                                  <a:srgbClr val="FFFFFF"/>
                                </a:gs>
                                <a:gs pos="31000">
                                  <a:srgbClr val="FFFFFF"/>
                                </a:gs>
                              </a:gsLst>
                              <a:lin ang="5400000" scaled="0"/>
                            </a:gradFill>
                            <a:effectLst/>
                            <a:uLnTx/>
                            <a:uFillTx/>
                            <a:latin typeface="Segoe UI"/>
                            <a:ea typeface="Arial Unicode MS" panose="020B0604020202020204" pitchFamily="34" charset="-128"/>
                            <a:cs typeface="Segoe UI Light" panose="020B0502040204020203" pitchFamily="34" charset="0"/>
                          </a:rPr>
                        </a:br>
                        <a:r>
                          <a:rPr kumimoji="0" lang="en-US" sz="980" b="0" i="0" u="none" strike="noStrike" kern="0" cap="none" spc="0" normalizeH="0" baseline="0" noProof="0" dirty="0">
                            <a:ln>
                              <a:noFill/>
                            </a:ln>
                            <a:gradFill>
                              <a:gsLst>
                                <a:gs pos="76250">
                                  <a:srgbClr val="FFFFFF"/>
                                </a:gs>
                                <a:gs pos="31000">
                                  <a:srgbClr val="FFFFFF"/>
                                </a:gs>
                              </a:gsLst>
                              <a:lin ang="5400000" scaled="0"/>
                            </a:gradFill>
                            <a:effectLst/>
                            <a:uLnTx/>
                            <a:uFillTx/>
                            <a:latin typeface="Segoe UI"/>
                            <a:ea typeface="Arial Unicode MS" panose="020B0604020202020204" pitchFamily="34" charset="-128"/>
                            <a:cs typeface="Segoe UI Light" panose="020B0502040204020203" pitchFamily="34" charset="0"/>
                          </a:rPr>
                          <a:t>Factory</a:t>
                        </a:r>
                      </a:p>
                    </p:txBody>
                  </p:sp>
                  <p:pic>
                    <p:nvPicPr>
                      <p:cNvPr id="424" name="Picture 187"/>
                      <p:cNvPicPr>
                        <a:picLocks noChangeAspect="1"/>
                      </p:cNvPicPr>
                      <p:nvPr/>
                    </p:nvPicPr>
                    <p:blipFill>
                      <a:blip r:embed="rId21" cstate="print">
                        <a:biLevel thresh="25000"/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809230" y="3192842"/>
                        <a:ext cx="302103" cy="30203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grpSp>
                <p:grpSp>
                  <p:nvGrpSpPr>
                    <p:cNvPr id="417" name="Group 416"/>
                    <p:cNvGrpSpPr/>
                    <p:nvPr/>
                  </p:nvGrpSpPr>
                  <p:grpSpPr>
                    <a:xfrm>
                      <a:off x="6159534" y="3198305"/>
                      <a:ext cx="1006604" cy="300037"/>
                      <a:chOff x="6159534" y="3198305"/>
                      <a:chExt cx="1006604" cy="300037"/>
                    </a:xfrm>
                  </p:grpSpPr>
                  <p:sp>
                    <p:nvSpPr>
                      <p:cNvPr id="421" name="TextBox 420"/>
                      <p:cNvSpPr txBox="1"/>
                      <p:nvPr/>
                    </p:nvSpPr>
                    <p:spPr bwMode="auto">
                      <a:xfrm>
                        <a:off x="6507325" y="3198305"/>
                        <a:ext cx="658813" cy="30003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  <p:txBody>
                      <a:bodyPr wrap="none" lIns="0" tIns="27971" rIns="0" bIns="0" anchor="ctr" anchorCtr="0"/>
                      <a:lstStyle>
                        <a:defPPr>
                          <a:defRPr lang="en-US"/>
                        </a:defPPr>
                        <a:lvl1pPr defTabSz="932317">
                          <a:lnSpc>
                            <a:spcPct val="90000"/>
                          </a:lnSpc>
                          <a:spcBef>
                            <a:spcPts val="600"/>
                          </a:spcBef>
                          <a:defRPr sz="1000">
                            <a:gradFill>
                              <a:gsLst>
                                <a:gs pos="76250">
                                  <a:schemeClr val="bg1"/>
                                </a:gs>
                                <a:gs pos="31000">
                                  <a:schemeClr val="bg1"/>
                                </a:gs>
                              </a:gsLst>
                              <a:lin ang="5400000" scaled="0"/>
                            </a:gradFill>
                            <a:latin typeface="+mn-lt"/>
                            <a:ea typeface="Arial Unicode MS" panose="020B0604020202020204" pitchFamily="34" charset="-128"/>
                            <a:cs typeface="Segoe UI Light" panose="020B0502040204020203" pitchFamily="34" charset="0"/>
                          </a:defRPr>
                        </a:lvl1pPr>
                      </a:lstStyle>
                      <a:p>
                        <a:pPr marL="0" marR="0" lvl="0" indent="0" defTabSz="913950" eaLnBrk="0" fontAlgn="base" latinLnBrk="0" hangingPunct="0">
                          <a:lnSpc>
                            <a:spcPct val="90000"/>
                          </a:lnSpc>
                          <a:spcBef>
                            <a:spcPts val="588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US" sz="980" b="0" i="0" u="none" strike="noStrike" kern="0" cap="none" spc="0" normalizeH="0" baseline="0" noProof="0" dirty="0">
                            <a:ln>
                              <a:noFill/>
                            </a:ln>
                            <a:gradFill>
                              <a:gsLst>
                                <a:gs pos="76250">
                                  <a:srgbClr val="FFFFFF"/>
                                </a:gs>
                                <a:gs pos="31000">
                                  <a:srgbClr val="FFFFFF"/>
                                </a:gs>
                              </a:gsLst>
                              <a:lin ang="5400000" scaled="0"/>
                            </a:gradFill>
                            <a:effectLst/>
                            <a:uLnTx/>
                            <a:uFillTx/>
                            <a:latin typeface="Segoe UI"/>
                            <a:ea typeface="Arial Unicode MS" panose="020B0604020202020204" pitchFamily="34" charset="-128"/>
                            <a:cs typeface="Segoe UI Light" panose="020B0502040204020203" pitchFamily="34" charset="0"/>
                          </a:rPr>
                          <a:t>Event</a:t>
                        </a:r>
                        <a:br>
                          <a:rPr kumimoji="0" lang="en-US" sz="980" b="0" i="0" u="none" strike="noStrike" kern="0" cap="none" spc="0" normalizeH="0" baseline="0" noProof="0" dirty="0">
                            <a:ln>
                              <a:noFill/>
                            </a:ln>
                            <a:gradFill>
                              <a:gsLst>
                                <a:gs pos="76250">
                                  <a:srgbClr val="FFFFFF"/>
                                </a:gs>
                                <a:gs pos="31000">
                                  <a:srgbClr val="FFFFFF"/>
                                </a:gs>
                              </a:gsLst>
                              <a:lin ang="5400000" scaled="0"/>
                            </a:gradFill>
                            <a:effectLst/>
                            <a:uLnTx/>
                            <a:uFillTx/>
                            <a:latin typeface="Segoe UI"/>
                            <a:ea typeface="Arial Unicode MS" panose="020B0604020202020204" pitchFamily="34" charset="-128"/>
                            <a:cs typeface="Segoe UI Light" panose="020B0502040204020203" pitchFamily="34" charset="0"/>
                          </a:rPr>
                        </a:br>
                        <a:r>
                          <a:rPr kumimoji="0" lang="en-US" sz="980" b="0" i="0" u="none" strike="noStrike" kern="0" cap="none" spc="0" normalizeH="0" baseline="0" noProof="0" dirty="0">
                            <a:ln>
                              <a:noFill/>
                            </a:ln>
                            <a:gradFill>
                              <a:gsLst>
                                <a:gs pos="76250">
                                  <a:srgbClr val="FFFFFF"/>
                                </a:gs>
                                <a:gs pos="31000">
                                  <a:srgbClr val="FFFFFF"/>
                                </a:gs>
                              </a:gsLst>
                              <a:lin ang="5400000" scaled="0"/>
                            </a:gradFill>
                            <a:effectLst/>
                            <a:uLnTx/>
                            <a:uFillTx/>
                            <a:latin typeface="Segoe UI"/>
                            <a:ea typeface="Arial Unicode MS" panose="020B0604020202020204" pitchFamily="34" charset="-128"/>
                            <a:cs typeface="Segoe UI Light" panose="020B0502040204020203" pitchFamily="34" charset="0"/>
                          </a:rPr>
                          <a:t>Hubs</a:t>
                        </a:r>
                      </a:p>
                    </p:txBody>
                  </p:sp>
                  <p:pic>
                    <p:nvPicPr>
                      <p:cNvPr id="422" name="Picture 189"/>
                      <p:cNvPicPr>
                        <a:picLocks noChangeAspect="1"/>
                      </p:cNvPicPr>
                      <p:nvPr/>
                    </p:nvPicPr>
                    <p:blipFill>
                      <a:blip r:embed="rId22" cstate="print">
                        <a:biLevel thresh="25000"/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159534" y="3200784"/>
                        <a:ext cx="283827" cy="29632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grpSp>
                <p:grpSp>
                  <p:nvGrpSpPr>
                    <p:cNvPr id="418" name="Group 417"/>
                    <p:cNvGrpSpPr/>
                    <p:nvPr/>
                  </p:nvGrpSpPr>
                  <p:grpSpPr>
                    <a:xfrm>
                      <a:off x="6165936" y="3834755"/>
                      <a:ext cx="1000202" cy="296566"/>
                      <a:chOff x="6165936" y="3834755"/>
                      <a:chExt cx="1000202" cy="296566"/>
                    </a:xfrm>
                  </p:grpSpPr>
                  <p:sp>
                    <p:nvSpPr>
                      <p:cNvPr id="419" name="TextBox 418"/>
                      <p:cNvSpPr txBox="1"/>
                      <p:nvPr/>
                    </p:nvSpPr>
                    <p:spPr bwMode="auto">
                      <a:xfrm>
                        <a:off x="6507325" y="3853657"/>
                        <a:ext cx="658813" cy="2587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  <p:txBody>
                      <a:bodyPr wrap="none" lIns="0" tIns="27971" rIns="0" bIns="0" anchor="ctr" anchorCtr="0"/>
                      <a:lstStyle>
                        <a:defPPr>
                          <a:defRPr lang="en-US"/>
                        </a:defPPr>
                        <a:lvl1pPr defTabSz="932317">
                          <a:lnSpc>
                            <a:spcPct val="90000"/>
                          </a:lnSpc>
                          <a:spcBef>
                            <a:spcPts val="600"/>
                          </a:spcBef>
                          <a:defRPr sz="1000">
                            <a:gradFill>
                              <a:gsLst>
                                <a:gs pos="76250">
                                  <a:schemeClr val="bg1"/>
                                </a:gs>
                                <a:gs pos="31000">
                                  <a:schemeClr val="bg1"/>
                                </a:gs>
                              </a:gsLst>
                              <a:lin ang="5400000" scaled="0"/>
                            </a:gradFill>
                            <a:latin typeface="+mn-lt"/>
                            <a:ea typeface="Arial Unicode MS" panose="020B0604020202020204" pitchFamily="34" charset="-128"/>
                            <a:cs typeface="Segoe UI Light" panose="020B0502040204020203" pitchFamily="34" charset="0"/>
                          </a:defRPr>
                        </a:lvl1pPr>
                      </a:lstStyle>
                      <a:p>
                        <a:pPr marL="0" marR="0" lvl="0" indent="0" defTabSz="913950" eaLnBrk="0" fontAlgn="base" latinLnBrk="0" hangingPunct="0">
                          <a:lnSpc>
                            <a:spcPct val="90000"/>
                          </a:lnSpc>
                          <a:spcBef>
                            <a:spcPts val="588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US" sz="980" b="0" i="0" u="none" strike="noStrike" kern="0" cap="none" spc="0" normalizeH="0" baseline="0" noProof="0" dirty="0">
                            <a:ln>
                              <a:noFill/>
                            </a:ln>
                            <a:gradFill>
                              <a:gsLst>
                                <a:gs pos="76250">
                                  <a:srgbClr val="FFFFFF"/>
                                </a:gs>
                                <a:gs pos="31000">
                                  <a:srgbClr val="FFFFFF"/>
                                </a:gs>
                              </a:gsLst>
                              <a:lin ang="5400000" scaled="0"/>
                            </a:gradFill>
                            <a:effectLst/>
                            <a:uLnTx/>
                            <a:uFillTx/>
                            <a:latin typeface="Segoe UI"/>
                            <a:ea typeface="Arial Unicode MS" panose="020B0604020202020204" pitchFamily="34" charset="-128"/>
                            <a:cs typeface="Segoe UI Light" panose="020B0502040204020203" pitchFamily="34" charset="0"/>
                          </a:rPr>
                          <a:t>Mobile</a:t>
                        </a:r>
                        <a:br>
                          <a:rPr kumimoji="0" lang="en-US" sz="980" b="0" i="0" u="none" strike="noStrike" kern="0" cap="none" spc="0" normalizeH="0" baseline="0" noProof="0" dirty="0">
                            <a:ln>
                              <a:noFill/>
                            </a:ln>
                            <a:gradFill>
                              <a:gsLst>
                                <a:gs pos="76250">
                                  <a:srgbClr val="FFFFFF"/>
                                </a:gs>
                                <a:gs pos="31000">
                                  <a:srgbClr val="FFFFFF"/>
                                </a:gs>
                              </a:gsLst>
                              <a:lin ang="5400000" scaled="0"/>
                            </a:gradFill>
                            <a:effectLst/>
                            <a:uLnTx/>
                            <a:uFillTx/>
                            <a:latin typeface="Segoe UI"/>
                            <a:ea typeface="Arial Unicode MS" panose="020B0604020202020204" pitchFamily="34" charset="-128"/>
                            <a:cs typeface="Segoe UI Light" panose="020B0502040204020203" pitchFamily="34" charset="0"/>
                          </a:rPr>
                        </a:br>
                        <a:r>
                          <a:rPr kumimoji="0" lang="en-US" sz="980" b="0" i="0" u="none" strike="noStrike" kern="0" cap="none" spc="0" normalizeH="0" baseline="0" noProof="0" dirty="0">
                            <a:ln>
                              <a:noFill/>
                            </a:ln>
                            <a:gradFill>
                              <a:gsLst>
                                <a:gs pos="76250">
                                  <a:srgbClr val="FFFFFF"/>
                                </a:gs>
                                <a:gs pos="31000">
                                  <a:srgbClr val="FFFFFF"/>
                                </a:gs>
                              </a:gsLst>
                              <a:lin ang="5400000" scaled="0"/>
                            </a:gradFill>
                            <a:effectLst/>
                            <a:uLnTx/>
                            <a:uFillTx/>
                            <a:latin typeface="Segoe UI"/>
                            <a:ea typeface="Arial Unicode MS" panose="020B0604020202020204" pitchFamily="34" charset="-128"/>
                            <a:cs typeface="Segoe UI Light" panose="020B0502040204020203" pitchFamily="34" charset="0"/>
                          </a:rPr>
                          <a:t>Engagement</a:t>
                        </a:r>
                      </a:p>
                    </p:txBody>
                  </p:sp>
                  <p:pic>
                    <p:nvPicPr>
                      <p:cNvPr id="420" name="Picture 191"/>
                      <p:cNvPicPr>
                        <a:picLocks noChangeAspect="1"/>
                      </p:cNvPicPr>
                      <p:nvPr/>
                    </p:nvPicPr>
                    <p:blipFill>
                      <a:blip r:embed="rId23" cstate="print">
                        <a:biLevel thresh="25000"/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165936" y="3834755"/>
                        <a:ext cx="296639" cy="29656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grpSp>
              </p:grpSp>
            </p:grpSp>
            <p:grpSp>
              <p:nvGrpSpPr>
                <p:cNvPr id="347" name="Group 346"/>
                <p:cNvGrpSpPr/>
                <p:nvPr/>
              </p:nvGrpSpPr>
              <p:grpSpPr>
                <a:xfrm>
                  <a:off x="2082009" y="2024566"/>
                  <a:ext cx="2498759" cy="1352550"/>
                  <a:chOff x="2082009" y="2138866"/>
                  <a:chExt cx="2498759" cy="1352550"/>
                </a:xfrm>
              </p:grpSpPr>
              <p:sp>
                <p:nvSpPr>
                  <p:cNvPr id="397" name="Rectangle 396"/>
                  <p:cNvSpPr/>
                  <p:nvPr/>
                </p:nvSpPr>
                <p:spPr bwMode="auto">
                  <a:xfrm>
                    <a:off x="2082009" y="2138866"/>
                    <a:ext cx="2498759" cy="1352550"/>
                  </a:xfrm>
                  <a:prstGeom prst="rect">
                    <a:avLst/>
                  </a:prstGeom>
                  <a:solidFill>
                    <a:srgbClr val="0072C6"/>
                  </a:solidFill>
                  <a:ln w="6350" cap="flat" cmpd="sng" algn="ctr">
                    <a:noFill/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  <p:txBody>
                  <a:bodyPr lIns="179285" tIns="143428" rIns="179285" bIns="143428"/>
                  <a:lstStyle/>
                  <a:p>
                    <a:pPr marL="0" marR="0" lvl="0" indent="0" algn="ctr" defTabSz="895923" eaLnBrk="1" fontAlgn="base" latinLnBrk="0" hangingPunct="1">
                      <a:lnSpc>
                        <a:spcPct val="9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176" b="0" i="0" u="none" strike="noStrike" kern="0" cap="none" spc="0" normalizeH="0" baseline="0" noProof="0" dirty="0">
                        <a:ln>
                          <a:noFill/>
                        </a:ln>
                        <a:gradFill>
                          <a:gsLst>
                            <a:gs pos="76250">
                              <a:srgbClr val="FFFFFF"/>
                            </a:gs>
                            <a:gs pos="31000">
                              <a:srgbClr val="FFFFFF"/>
                            </a:gs>
                          </a:gsLst>
                          <a:lin ang="5400000" scaled="0"/>
                        </a:gradFill>
                        <a:effectLst/>
                        <a:uLnTx/>
                        <a:uFillTx/>
                        <a:latin typeface="Segoe UI Semibold" panose="020B0702040204020203" pitchFamily="34" charset="0"/>
                        <a:ea typeface="Segoe UI" pitchFamily="34" charset="0"/>
                        <a:cs typeface="Segoe UI Semibold" panose="020B0702040204020203" pitchFamily="34" charset="0"/>
                      </a:rPr>
                      <a:t>Integration</a:t>
                    </a:r>
                  </a:p>
                </p:txBody>
              </p:sp>
              <p:grpSp>
                <p:nvGrpSpPr>
                  <p:cNvPr id="398" name="Group 397"/>
                  <p:cNvGrpSpPr/>
                  <p:nvPr/>
                </p:nvGrpSpPr>
                <p:grpSpPr>
                  <a:xfrm>
                    <a:off x="2198592" y="2559624"/>
                    <a:ext cx="2237004" cy="836418"/>
                    <a:chOff x="2198592" y="2559624"/>
                    <a:chExt cx="2237004" cy="836418"/>
                  </a:xfrm>
                </p:grpSpPr>
                <p:grpSp>
                  <p:nvGrpSpPr>
                    <p:cNvPr id="399" name="Group 398"/>
                    <p:cNvGrpSpPr/>
                    <p:nvPr/>
                  </p:nvGrpSpPr>
                  <p:grpSpPr>
                    <a:xfrm>
                      <a:off x="3513173" y="2559624"/>
                      <a:ext cx="922423" cy="301625"/>
                      <a:chOff x="3425188" y="2480831"/>
                      <a:chExt cx="922423" cy="301625"/>
                    </a:xfrm>
                  </p:grpSpPr>
                  <p:sp>
                    <p:nvSpPr>
                      <p:cNvPr id="409" name="TextBox 408"/>
                      <p:cNvSpPr txBox="1"/>
                      <p:nvPr/>
                    </p:nvSpPr>
                    <p:spPr bwMode="auto">
                      <a:xfrm>
                        <a:off x="3803029" y="2480831"/>
                        <a:ext cx="544582" cy="3016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  <p:txBody>
                      <a:bodyPr wrap="none" lIns="0" tIns="27971" rIns="0" bIns="0" anchor="ctr" anchorCtr="0"/>
                      <a:lstStyle>
                        <a:defPPr>
                          <a:defRPr lang="en-US"/>
                        </a:defPPr>
                        <a:lvl1pPr defTabSz="932317">
                          <a:lnSpc>
                            <a:spcPct val="90000"/>
                          </a:lnSpc>
                          <a:spcBef>
                            <a:spcPts val="600"/>
                          </a:spcBef>
                          <a:defRPr sz="1000">
                            <a:gradFill>
                              <a:gsLst>
                                <a:gs pos="76250">
                                  <a:schemeClr val="bg1"/>
                                </a:gs>
                                <a:gs pos="31000">
                                  <a:schemeClr val="bg1"/>
                                </a:gs>
                              </a:gsLst>
                              <a:lin ang="5400000" scaled="0"/>
                            </a:gradFill>
                            <a:latin typeface="+mn-lt"/>
                            <a:ea typeface="Arial Unicode MS" panose="020B0604020202020204" pitchFamily="34" charset="-128"/>
                            <a:cs typeface="Segoe UI Light" panose="020B0502040204020203" pitchFamily="34" charset="0"/>
                          </a:defRPr>
                        </a:lvl1pPr>
                      </a:lstStyle>
                      <a:p>
                        <a:pPr marL="0" marR="0" lvl="0" indent="0" defTabSz="913950" eaLnBrk="0" fontAlgn="base" latinLnBrk="0" hangingPunct="0">
                          <a:lnSpc>
                            <a:spcPct val="90000"/>
                          </a:lnSpc>
                          <a:spcBef>
                            <a:spcPts val="588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US" sz="980" b="0" i="0" u="none" strike="noStrike" kern="0" cap="none" spc="0" normalizeH="0" baseline="0" noProof="0" dirty="0">
                            <a:ln>
                              <a:noFill/>
                            </a:ln>
                            <a:gradFill>
                              <a:gsLst>
                                <a:gs pos="76250">
                                  <a:srgbClr val="FFFFFF"/>
                                </a:gs>
                                <a:gs pos="31000">
                                  <a:srgbClr val="FFFFFF"/>
                                </a:gs>
                              </a:gsLst>
                              <a:lin ang="5400000" scaled="0"/>
                            </a:gradFill>
                            <a:effectLst/>
                            <a:uLnTx/>
                            <a:uFillTx/>
                            <a:latin typeface="Segoe UI"/>
                            <a:ea typeface="Arial Unicode MS" panose="020B0604020202020204" pitchFamily="34" charset="-128"/>
                            <a:cs typeface="Segoe UI Light" panose="020B0502040204020203" pitchFamily="34" charset="0"/>
                          </a:rPr>
                          <a:t>BizTalk</a:t>
                        </a:r>
                        <a:br>
                          <a:rPr kumimoji="0" lang="en-US" sz="980" b="0" i="0" u="none" strike="noStrike" kern="0" cap="none" spc="0" normalizeH="0" baseline="0" noProof="0" dirty="0">
                            <a:ln>
                              <a:noFill/>
                            </a:ln>
                            <a:gradFill>
                              <a:gsLst>
                                <a:gs pos="76250">
                                  <a:srgbClr val="FFFFFF"/>
                                </a:gs>
                                <a:gs pos="31000">
                                  <a:srgbClr val="FFFFFF"/>
                                </a:gs>
                              </a:gsLst>
                              <a:lin ang="5400000" scaled="0"/>
                            </a:gradFill>
                            <a:effectLst/>
                            <a:uLnTx/>
                            <a:uFillTx/>
                            <a:latin typeface="Segoe UI"/>
                            <a:ea typeface="Arial Unicode MS" panose="020B0604020202020204" pitchFamily="34" charset="-128"/>
                            <a:cs typeface="Segoe UI Light" panose="020B0502040204020203" pitchFamily="34" charset="0"/>
                          </a:rPr>
                        </a:br>
                        <a:r>
                          <a:rPr kumimoji="0" lang="en-US" sz="980" b="0" i="0" u="none" strike="noStrike" kern="0" cap="none" spc="0" normalizeH="0" baseline="0" noProof="0" dirty="0">
                            <a:ln>
                              <a:noFill/>
                            </a:ln>
                            <a:gradFill>
                              <a:gsLst>
                                <a:gs pos="76250">
                                  <a:srgbClr val="FFFFFF"/>
                                </a:gs>
                                <a:gs pos="31000">
                                  <a:srgbClr val="FFFFFF"/>
                                </a:gs>
                              </a:gsLst>
                              <a:lin ang="5400000" scaled="0"/>
                            </a:gradFill>
                            <a:effectLst/>
                            <a:uLnTx/>
                            <a:uFillTx/>
                            <a:latin typeface="Segoe UI"/>
                            <a:ea typeface="Arial Unicode MS" panose="020B0604020202020204" pitchFamily="34" charset="-128"/>
                            <a:cs typeface="Segoe UI Light" panose="020B0502040204020203" pitchFamily="34" charset="0"/>
                          </a:rPr>
                          <a:t>Services</a:t>
                        </a:r>
                      </a:p>
                    </p:txBody>
                  </p:sp>
                  <p:pic>
                    <p:nvPicPr>
                      <p:cNvPr id="410" name="Picture 214" descr="BizTalk Services.png"/>
                      <p:cNvPicPr>
                        <a:picLocks noChangeAspect="1"/>
                      </p:cNvPicPr>
                      <p:nvPr/>
                    </p:nvPicPr>
                    <p:blipFill>
                      <a:blip r:embed="rId24" cstate="print">
                        <a:biLevel thresh="25000"/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425188" y="2484570"/>
                        <a:ext cx="293830" cy="29414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grpSp>
                <p:grpSp>
                  <p:nvGrpSpPr>
                    <p:cNvPr id="400" name="Group 399"/>
                    <p:cNvGrpSpPr/>
                    <p:nvPr/>
                  </p:nvGrpSpPr>
                  <p:grpSpPr>
                    <a:xfrm>
                      <a:off x="2198592" y="3094417"/>
                      <a:ext cx="1020311" cy="301625"/>
                      <a:chOff x="2319949" y="3019151"/>
                      <a:chExt cx="1020311" cy="301625"/>
                    </a:xfrm>
                  </p:grpSpPr>
                  <p:sp>
                    <p:nvSpPr>
                      <p:cNvPr id="407" name="TextBox 406"/>
                      <p:cNvSpPr txBox="1"/>
                      <p:nvPr/>
                    </p:nvSpPr>
                    <p:spPr bwMode="auto">
                      <a:xfrm>
                        <a:off x="2681448" y="3019151"/>
                        <a:ext cx="658812" cy="3016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  <p:txBody>
                      <a:bodyPr wrap="none" lIns="0" tIns="27971" rIns="0" bIns="0" anchor="ctr" anchorCtr="0"/>
                      <a:lstStyle>
                        <a:defPPr>
                          <a:defRPr lang="en-US"/>
                        </a:defPPr>
                        <a:lvl1pPr defTabSz="932317">
                          <a:lnSpc>
                            <a:spcPct val="90000"/>
                          </a:lnSpc>
                          <a:spcBef>
                            <a:spcPts val="600"/>
                          </a:spcBef>
                          <a:defRPr sz="1000">
                            <a:gradFill>
                              <a:gsLst>
                                <a:gs pos="76250">
                                  <a:schemeClr val="bg1"/>
                                </a:gs>
                                <a:gs pos="31000">
                                  <a:schemeClr val="bg1"/>
                                </a:gs>
                              </a:gsLst>
                              <a:lin ang="5400000" scaled="0"/>
                            </a:gradFill>
                            <a:latin typeface="+mn-lt"/>
                            <a:ea typeface="Arial Unicode MS" panose="020B0604020202020204" pitchFamily="34" charset="-128"/>
                            <a:cs typeface="Segoe UI Light" panose="020B0502040204020203" pitchFamily="34" charset="0"/>
                          </a:defRPr>
                        </a:lvl1pPr>
                      </a:lstStyle>
                      <a:p>
                        <a:pPr marL="0" marR="0" lvl="0" indent="0" defTabSz="913950" eaLnBrk="0" fontAlgn="base" latinLnBrk="0" hangingPunct="0">
                          <a:lnSpc>
                            <a:spcPct val="90000"/>
                          </a:lnSpc>
                          <a:spcBef>
                            <a:spcPts val="588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US" sz="980" b="0" i="0" u="none" strike="noStrike" kern="0" cap="none" spc="0" normalizeH="0" baseline="0" noProof="0" dirty="0">
                            <a:ln>
                              <a:noFill/>
                            </a:ln>
                            <a:gradFill>
                              <a:gsLst>
                                <a:gs pos="76250">
                                  <a:srgbClr val="FFFFFF"/>
                                </a:gs>
                                <a:gs pos="31000">
                                  <a:srgbClr val="FFFFFF"/>
                                </a:gs>
                              </a:gsLst>
                              <a:lin ang="5400000" scaled="0"/>
                            </a:gradFill>
                            <a:effectLst/>
                            <a:uLnTx/>
                            <a:uFillTx/>
                            <a:latin typeface="Segoe UI"/>
                            <a:ea typeface="Arial Unicode MS" panose="020B0604020202020204" pitchFamily="34" charset="-128"/>
                            <a:cs typeface="Segoe UI Light" panose="020B0502040204020203" pitchFamily="34" charset="0"/>
                          </a:rPr>
                          <a:t>Hybrid</a:t>
                        </a:r>
                        <a:br>
                          <a:rPr kumimoji="0" lang="en-US" sz="980" b="0" i="0" u="none" strike="noStrike" kern="0" cap="none" spc="0" normalizeH="0" baseline="0" noProof="0" dirty="0">
                            <a:ln>
                              <a:noFill/>
                            </a:ln>
                            <a:gradFill>
                              <a:gsLst>
                                <a:gs pos="76250">
                                  <a:srgbClr val="FFFFFF"/>
                                </a:gs>
                                <a:gs pos="31000">
                                  <a:srgbClr val="FFFFFF"/>
                                </a:gs>
                              </a:gsLst>
                              <a:lin ang="5400000" scaled="0"/>
                            </a:gradFill>
                            <a:effectLst/>
                            <a:uLnTx/>
                            <a:uFillTx/>
                            <a:latin typeface="Segoe UI"/>
                            <a:ea typeface="Arial Unicode MS" panose="020B0604020202020204" pitchFamily="34" charset="-128"/>
                            <a:cs typeface="Segoe UI Light" panose="020B0502040204020203" pitchFamily="34" charset="0"/>
                          </a:rPr>
                        </a:br>
                        <a:r>
                          <a:rPr kumimoji="0" lang="en-US" sz="980" b="0" i="0" u="none" strike="noStrike" kern="0" cap="none" spc="0" normalizeH="0" baseline="0" noProof="0" dirty="0">
                            <a:ln>
                              <a:noFill/>
                            </a:ln>
                            <a:gradFill>
                              <a:gsLst>
                                <a:gs pos="76250">
                                  <a:srgbClr val="FFFFFF"/>
                                </a:gs>
                                <a:gs pos="31000">
                                  <a:srgbClr val="FFFFFF"/>
                                </a:gs>
                              </a:gsLst>
                              <a:lin ang="5400000" scaled="0"/>
                            </a:gradFill>
                            <a:effectLst/>
                            <a:uLnTx/>
                            <a:uFillTx/>
                            <a:latin typeface="Segoe UI"/>
                            <a:ea typeface="Arial Unicode MS" panose="020B0604020202020204" pitchFamily="34" charset="-128"/>
                            <a:cs typeface="Segoe UI Light" panose="020B0502040204020203" pitchFamily="34" charset="0"/>
                          </a:rPr>
                          <a:t>Connections</a:t>
                        </a:r>
                      </a:p>
                    </p:txBody>
                  </p:sp>
                  <p:pic>
                    <p:nvPicPr>
                      <p:cNvPr id="408" name="Picture 216" descr="Hybrid Connections (BizTalk).png"/>
                      <p:cNvPicPr>
                        <a:picLocks noChangeAspect="1"/>
                      </p:cNvPicPr>
                      <p:nvPr/>
                    </p:nvPicPr>
                    <p:blipFill>
                      <a:blip r:embed="rId25" cstate="print">
                        <a:biLevel thresh="25000"/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319949" y="3023735"/>
                        <a:ext cx="292141" cy="29245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grpSp>
                <p:grpSp>
                  <p:nvGrpSpPr>
                    <p:cNvPr id="401" name="Group 400"/>
                    <p:cNvGrpSpPr/>
                    <p:nvPr/>
                  </p:nvGrpSpPr>
                  <p:grpSpPr>
                    <a:xfrm>
                      <a:off x="3521521" y="3094417"/>
                      <a:ext cx="869624" cy="301625"/>
                      <a:chOff x="3433536" y="3015624"/>
                      <a:chExt cx="869624" cy="301625"/>
                    </a:xfrm>
                  </p:grpSpPr>
                  <p:sp>
                    <p:nvSpPr>
                      <p:cNvPr id="405" name="TextBox 404"/>
                      <p:cNvSpPr txBox="1"/>
                      <p:nvPr/>
                    </p:nvSpPr>
                    <p:spPr bwMode="auto">
                      <a:xfrm>
                        <a:off x="3788740" y="3015624"/>
                        <a:ext cx="514420" cy="3016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  <p:txBody>
                      <a:bodyPr wrap="none" lIns="0" tIns="27971" rIns="0" bIns="0" anchor="ctr" anchorCtr="0"/>
                      <a:lstStyle>
                        <a:defPPr>
                          <a:defRPr lang="en-US"/>
                        </a:defPPr>
                        <a:lvl1pPr defTabSz="932317">
                          <a:lnSpc>
                            <a:spcPct val="90000"/>
                          </a:lnSpc>
                          <a:spcBef>
                            <a:spcPts val="600"/>
                          </a:spcBef>
                          <a:defRPr sz="1000">
                            <a:gradFill>
                              <a:gsLst>
                                <a:gs pos="76250">
                                  <a:schemeClr val="bg1"/>
                                </a:gs>
                                <a:gs pos="31000">
                                  <a:schemeClr val="bg1"/>
                                </a:gs>
                              </a:gsLst>
                              <a:lin ang="5400000" scaled="0"/>
                            </a:gradFill>
                            <a:latin typeface="+mn-lt"/>
                            <a:ea typeface="Arial Unicode MS" panose="020B0604020202020204" pitchFamily="34" charset="-128"/>
                            <a:cs typeface="Segoe UI Light" panose="020B0502040204020203" pitchFamily="34" charset="0"/>
                          </a:defRPr>
                        </a:lvl1pPr>
                      </a:lstStyle>
                      <a:p>
                        <a:pPr marL="0" marR="0" lvl="0" indent="0" defTabSz="913950" eaLnBrk="0" fontAlgn="base" latinLnBrk="0" hangingPunct="0">
                          <a:lnSpc>
                            <a:spcPct val="90000"/>
                          </a:lnSpc>
                          <a:spcBef>
                            <a:spcPts val="588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US" sz="980" b="0" i="0" u="none" strike="noStrike" kern="0" cap="none" spc="0" normalizeH="0" baseline="0" noProof="0" dirty="0">
                            <a:ln>
                              <a:noFill/>
                            </a:ln>
                            <a:gradFill>
                              <a:gsLst>
                                <a:gs pos="76250">
                                  <a:srgbClr val="FFFFFF"/>
                                </a:gs>
                                <a:gs pos="31000">
                                  <a:srgbClr val="FFFFFF"/>
                                </a:gs>
                              </a:gsLst>
                              <a:lin ang="5400000" scaled="0"/>
                            </a:gradFill>
                            <a:effectLst/>
                            <a:uLnTx/>
                            <a:uFillTx/>
                            <a:latin typeface="Segoe UI"/>
                            <a:ea typeface="Arial Unicode MS" panose="020B0604020202020204" pitchFamily="34" charset="-128"/>
                            <a:cs typeface="Segoe UI Light" panose="020B0502040204020203" pitchFamily="34" charset="0"/>
                          </a:rPr>
                          <a:t>Service</a:t>
                        </a:r>
                        <a:br>
                          <a:rPr kumimoji="0" lang="en-US" sz="980" b="0" i="0" u="none" strike="noStrike" kern="0" cap="none" spc="0" normalizeH="0" baseline="0" noProof="0" dirty="0">
                            <a:ln>
                              <a:noFill/>
                            </a:ln>
                            <a:gradFill>
                              <a:gsLst>
                                <a:gs pos="76250">
                                  <a:srgbClr val="FFFFFF"/>
                                </a:gs>
                                <a:gs pos="31000">
                                  <a:srgbClr val="FFFFFF"/>
                                </a:gs>
                              </a:gsLst>
                              <a:lin ang="5400000" scaled="0"/>
                            </a:gradFill>
                            <a:effectLst/>
                            <a:uLnTx/>
                            <a:uFillTx/>
                            <a:latin typeface="Segoe UI"/>
                            <a:ea typeface="Arial Unicode MS" panose="020B0604020202020204" pitchFamily="34" charset="-128"/>
                            <a:cs typeface="Segoe UI Light" panose="020B0502040204020203" pitchFamily="34" charset="0"/>
                          </a:rPr>
                        </a:br>
                        <a:r>
                          <a:rPr kumimoji="0" lang="en-US" sz="980" b="0" i="0" u="none" strike="noStrike" kern="0" cap="none" spc="0" normalizeH="0" baseline="0" noProof="0" dirty="0">
                            <a:ln>
                              <a:noFill/>
                            </a:ln>
                            <a:gradFill>
                              <a:gsLst>
                                <a:gs pos="76250">
                                  <a:srgbClr val="FFFFFF"/>
                                </a:gs>
                                <a:gs pos="31000">
                                  <a:srgbClr val="FFFFFF"/>
                                </a:gs>
                              </a:gsLst>
                              <a:lin ang="5400000" scaled="0"/>
                            </a:gradFill>
                            <a:effectLst/>
                            <a:uLnTx/>
                            <a:uFillTx/>
                            <a:latin typeface="Segoe UI"/>
                            <a:ea typeface="Arial Unicode MS" panose="020B0604020202020204" pitchFamily="34" charset="-128"/>
                            <a:cs typeface="Segoe UI Light" panose="020B0502040204020203" pitchFamily="34" charset="0"/>
                          </a:rPr>
                          <a:t>Bus</a:t>
                        </a:r>
                      </a:p>
                    </p:txBody>
                  </p:sp>
                  <p:pic>
                    <p:nvPicPr>
                      <p:cNvPr id="406" name="Picture 218" descr="Service Bus.png"/>
                      <p:cNvPicPr>
                        <a:picLocks noChangeAspect="1"/>
                      </p:cNvPicPr>
                      <p:nvPr/>
                    </p:nvPicPr>
                    <p:blipFill>
                      <a:blip r:embed="rId26" cstate="print">
                        <a:biLevel thresh="25000"/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433536" y="3020078"/>
                        <a:ext cx="292402" cy="29271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grpSp>
                <p:grpSp>
                  <p:nvGrpSpPr>
                    <p:cNvPr id="402" name="Group 401"/>
                    <p:cNvGrpSpPr/>
                    <p:nvPr/>
                  </p:nvGrpSpPr>
                  <p:grpSpPr>
                    <a:xfrm>
                      <a:off x="2198592" y="2560418"/>
                      <a:ext cx="1020559" cy="300037"/>
                      <a:chOff x="2319701" y="2482223"/>
                      <a:chExt cx="1020559" cy="300037"/>
                    </a:xfrm>
                  </p:grpSpPr>
                  <p:sp>
                    <p:nvSpPr>
                      <p:cNvPr id="403" name="TextBox 402"/>
                      <p:cNvSpPr txBox="1"/>
                      <p:nvPr/>
                    </p:nvSpPr>
                    <p:spPr bwMode="auto">
                      <a:xfrm>
                        <a:off x="2681448" y="2482223"/>
                        <a:ext cx="658812" cy="30003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  <p:txBody>
                      <a:bodyPr wrap="none" lIns="0" tIns="27971" rIns="0" bIns="0" anchor="ctr" anchorCtr="0"/>
                      <a:lstStyle>
                        <a:defPPr>
                          <a:defRPr lang="en-US"/>
                        </a:defPPr>
                        <a:lvl1pPr defTabSz="932317">
                          <a:lnSpc>
                            <a:spcPct val="90000"/>
                          </a:lnSpc>
                          <a:spcBef>
                            <a:spcPts val="600"/>
                          </a:spcBef>
                          <a:defRPr sz="1000">
                            <a:gradFill>
                              <a:gsLst>
                                <a:gs pos="76250">
                                  <a:schemeClr val="bg1"/>
                                </a:gs>
                                <a:gs pos="31000">
                                  <a:schemeClr val="bg1"/>
                                </a:gs>
                              </a:gsLst>
                              <a:lin ang="5400000" scaled="0"/>
                            </a:gradFill>
                            <a:latin typeface="+mn-lt"/>
                            <a:ea typeface="Arial Unicode MS" panose="020B0604020202020204" pitchFamily="34" charset="-128"/>
                            <a:cs typeface="Segoe UI Light" panose="020B0502040204020203" pitchFamily="34" charset="0"/>
                          </a:defRPr>
                        </a:lvl1pPr>
                      </a:lstStyle>
                      <a:p>
                        <a:pPr marL="0" marR="0" lvl="0" indent="0" defTabSz="913950" eaLnBrk="0" fontAlgn="base" latinLnBrk="0" hangingPunct="0">
                          <a:lnSpc>
                            <a:spcPct val="90000"/>
                          </a:lnSpc>
                          <a:spcBef>
                            <a:spcPts val="588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US" sz="980" b="0" i="0" u="none" strike="noStrike" kern="0" cap="none" spc="0" normalizeH="0" baseline="0" noProof="0" dirty="0">
                            <a:ln>
                              <a:noFill/>
                            </a:ln>
                            <a:gradFill>
                              <a:gsLst>
                                <a:gs pos="76250">
                                  <a:srgbClr val="FFFFFF"/>
                                </a:gs>
                                <a:gs pos="31000">
                                  <a:srgbClr val="FFFFFF"/>
                                </a:gs>
                              </a:gsLst>
                              <a:lin ang="5400000" scaled="0"/>
                            </a:gradFill>
                            <a:effectLst/>
                            <a:uLnTx/>
                            <a:uFillTx/>
                            <a:latin typeface="Segoe UI"/>
                            <a:ea typeface="Arial Unicode MS" panose="020B0604020202020204" pitchFamily="34" charset="-128"/>
                            <a:cs typeface="Segoe UI Light" panose="020B0502040204020203" pitchFamily="34" charset="0"/>
                          </a:rPr>
                          <a:t>Storage</a:t>
                        </a:r>
                        <a:br>
                          <a:rPr kumimoji="0" lang="en-US" sz="980" b="0" i="0" u="none" strike="noStrike" kern="0" cap="none" spc="0" normalizeH="0" baseline="0" noProof="0" dirty="0">
                            <a:ln>
                              <a:noFill/>
                            </a:ln>
                            <a:gradFill>
                              <a:gsLst>
                                <a:gs pos="76250">
                                  <a:srgbClr val="FFFFFF"/>
                                </a:gs>
                                <a:gs pos="31000">
                                  <a:srgbClr val="FFFFFF"/>
                                </a:gs>
                              </a:gsLst>
                              <a:lin ang="5400000" scaled="0"/>
                            </a:gradFill>
                            <a:effectLst/>
                            <a:uLnTx/>
                            <a:uFillTx/>
                            <a:latin typeface="Segoe UI"/>
                            <a:ea typeface="Arial Unicode MS" panose="020B0604020202020204" pitchFamily="34" charset="-128"/>
                            <a:cs typeface="Segoe UI Light" panose="020B0502040204020203" pitchFamily="34" charset="0"/>
                          </a:rPr>
                        </a:br>
                        <a:r>
                          <a:rPr kumimoji="0" lang="en-US" sz="980" b="0" i="0" u="none" strike="noStrike" kern="0" cap="none" spc="0" normalizeH="0" baseline="0" noProof="0" dirty="0">
                            <a:ln>
                              <a:noFill/>
                            </a:ln>
                            <a:gradFill>
                              <a:gsLst>
                                <a:gs pos="76250">
                                  <a:srgbClr val="FFFFFF"/>
                                </a:gs>
                                <a:gs pos="31000">
                                  <a:srgbClr val="FFFFFF"/>
                                </a:gs>
                              </a:gsLst>
                              <a:lin ang="5400000" scaled="0"/>
                            </a:gradFill>
                            <a:effectLst/>
                            <a:uLnTx/>
                            <a:uFillTx/>
                            <a:latin typeface="Segoe UI"/>
                            <a:ea typeface="Arial Unicode MS" panose="020B0604020202020204" pitchFamily="34" charset="-128"/>
                            <a:cs typeface="Segoe UI Light" panose="020B0502040204020203" pitchFamily="34" charset="0"/>
                          </a:rPr>
                          <a:t>Queues</a:t>
                        </a:r>
                      </a:p>
                    </p:txBody>
                  </p:sp>
                  <p:pic>
                    <p:nvPicPr>
                      <p:cNvPr id="404" name="Picture 220" descr="Storage queue.png"/>
                      <p:cNvPicPr>
                        <a:picLocks noChangeAspect="1"/>
                      </p:cNvPicPr>
                      <p:nvPr/>
                    </p:nvPicPr>
                    <p:blipFill>
                      <a:blip r:embed="rId27" cstate="print">
                        <a:biLevel thresh="25000"/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319701" y="2485765"/>
                        <a:ext cx="292636" cy="29295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grpSp>
              </p:grpSp>
            </p:grpSp>
            <p:grpSp>
              <p:nvGrpSpPr>
                <p:cNvPr id="348" name="Group 347"/>
                <p:cNvGrpSpPr/>
                <p:nvPr/>
              </p:nvGrpSpPr>
              <p:grpSpPr>
                <a:xfrm>
                  <a:off x="7683226" y="2024565"/>
                  <a:ext cx="2771024" cy="2304637"/>
                  <a:chOff x="7683226" y="2138865"/>
                  <a:chExt cx="2771024" cy="2304637"/>
                </a:xfrm>
              </p:grpSpPr>
              <p:sp>
                <p:nvSpPr>
                  <p:cNvPr id="377" name="Rectangle 376"/>
                  <p:cNvSpPr/>
                  <p:nvPr/>
                </p:nvSpPr>
                <p:spPr bwMode="auto">
                  <a:xfrm>
                    <a:off x="7683226" y="2138865"/>
                    <a:ext cx="2771024" cy="2304637"/>
                  </a:xfrm>
                  <a:prstGeom prst="rect">
                    <a:avLst/>
                  </a:prstGeom>
                  <a:solidFill>
                    <a:srgbClr val="0072C6"/>
                  </a:solidFill>
                  <a:ln w="6350" cap="flat" cmpd="sng" algn="ctr">
                    <a:noFill/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  <p:txBody>
                  <a:bodyPr lIns="179285" tIns="143428" rIns="179285" bIns="143428"/>
                  <a:lstStyle/>
                  <a:p>
                    <a:pPr marL="0" marR="0" lvl="0" indent="0" algn="ctr" defTabSz="895923" eaLnBrk="1" fontAlgn="base" latinLnBrk="0" hangingPunct="1">
                      <a:lnSpc>
                        <a:spcPct val="9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176" b="0" i="0" u="none" strike="noStrike" kern="0" cap="none" spc="0" normalizeH="0" baseline="0" noProof="0" dirty="0">
                        <a:ln>
                          <a:noFill/>
                        </a:ln>
                        <a:gradFill>
                          <a:gsLst>
                            <a:gs pos="76250">
                              <a:srgbClr val="FFFFFF"/>
                            </a:gs>
                            <a:gs pos="31000">
                              <a:srgbClr val="FFFFFF"/>
                            </a:gs>
                          </a:gsLst>
                          <a:lin ang="5400000" scaled="0"/>
                        </a:gradFill>
                        <a:effectLst/>
                        <a:uLnTx/>
                        <a:uFillTx/>
                        <a:latin typeface="Segoe UI Semibold" panose="020B0702040204020203" pitchFamily="34" charset="0"/>
                        <a:ea typeface="Segoe UI" pitchFamily="34" charset="0"/>
                        <a:cs typeface="Segoe UI Semibold" panose="020B0702040204020203" pitchFamily="34" charset="0"/>
                      </a:rPr>
                      <a:t>Data</a:t>
                    </a:r>
                  </a:p>
                </p:txBody>
              </p:sp>
              <p:grpSp>
                <p:nvGrpSpPr>
                  <p:cNvPr id="378" name="Group 377"/>
                  <p:cNvGrpSpPr/>
                  <p:nvPr/>
                </p:nvGrpSpPr>
                <p:grpSpPr>
                  <a:xfrm>
                    <a:off x="7845950" y="2595968"/>
                    <a:ext cx="2445576" cy="1553509"/>
                    <a:chOff x="7799957" y="2595968"/>
                    <a:chExt cx="2445576" cy="1553509"/>
                  </a:xfrm>
                </p:grpSpPr>
                <p:grpSp>
                  <p:nvGrpSpPr>
                    <p:cNvPr id="379" name="Group 387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7799957" y="2595969"/>
                      <a:ext cx="1016185" cy="301066"/>
                      <a:chOff x="8369631" y="3448242"/>
                      <a:chExt cx="1016411" cy="301033"/>
                    </a:xfrm>
                  </p:grpSpPr>
                  <p:sp>
                    <p:nvSpPr>
                      <p:cNvPr id="395" name="TextBox 394"/>
                      <p:cNvSpPr txBox="1"/>
                      <p:nvPr/>
                    </p:nvSpPr>
                    <p:spPr>
                      <a:xfrm>
                        <a:off x="8727084" y="3448242"/>
                        <a:ext cx="658958" cy="30000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  <p:txBody>
                      <a:bodyPr wrap="none" lIns="0" tIns="27971" rIns="0" bIns="0" anchor="ctr" anchorCtr="0"/>
                      <a:lstStyle>
                        <a:defPPr>
                          <a:defRPr lang="en-US"/>
                        </a:defPPr>
                        <a:lvl1pPr defTabSz="932317">
                          <a:lnSpc>
                            <a:spcPct val="90000"/>
                          </a:lnSpc>
                          <a:spcBef>
                            <a:spcPts val="600"/>
                          </a:spcBef>
                          <a:defRPr sz="1000">
                            <a:gradFill>
                              <a:gsLst>
                                <a:gs pos="76250">
                                  <a:schemeClr val="bg1"/>
                                </a:gs>
                                <a:gs pos="31000">
                                  <a:schemeClr val="bg1"/>
                                </a:gs>
                              </a:gsLst>
                              <a:lin ang="5400000" scaled="0"/>
                            </a:gradFill>
                            <a:latin typeface="+mn-lt"/>
                            <a:ea typeface="Arial Unicode MS" panose="020B0604020202020204" pitchFamily="34" charset="-128"/>
                            <a:cs typeface="Segoe UI Light" panose="020B0502040204020203" pitchFamily="34" charset="0"/>
                          </a:defRPr>
                        </a:lvl1pPr>
                      </a:lstStyle>
                      <a:p>
                        <a:pPr marL="0" marR="0" lvl="0" indent="0" defTabSz="913950" eaLnBrk="0" fontAlgn="base" latinLnBrk="0" hangingPunct="0">
                          <a:lnSpc>
                            <a:spcPct val="90000"/>
                          </a:lnSpc>
                          <a:spcBef>
                            <a:spcPts val="588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US" sz="980" b="0" i="0" u="none" strike="noStrike" kern="0" cap="none" spc="0" normalizeH="0" baseline="0" noProof="0" dirty="0">
                            <a:ln>
                              <a:noFill/>
                            </a:ln>
                            <a:gradFill>
                              <a:gsLst>
                                <a:gs pos="76250">
                                  <a:srgbClr val="FFFFFF"/>
                                </a:gs>
                                <a:gs pos="31000">
                                  <a:srgbClr val="FFFFFF"/>
                                </a:gs>
                              </a:gsLst>
                              <a:lin ang="5400000" scaled="0"/>
                            </a:gradFill>
                            <a:effectLst/>
                            <a:uLnTx/>
                            <a:uFillTx/>
                            <a:latin typeface="Segoe UI"/>
                            <a:ea typeface="Arial Unicode MS" panose="020B0604020202020204" pitchFamily="34" charset="-128"/>
                            <a:cs typeface="Segoe UI Light" panose="020B0502040204020203" pitchFamily="34" charset="0"/>
                          </a:rPr>
                          <a:t>SQL</a:t>
                        </a:r>
                        <a:br>
                          <a:rPr kumimoji="0" lang="en-US" sz="980" b="0" i="0" u="none" strike="noStrike" kern="0" cap="none" spc="0" normalizeH="0" baseline="0" noProof="0" dirty="0">
                            <a:ln>
                              <a:noFill/>
                            </a:ln>
                            <a:gradFill>
                              <a:gsLst>
                                <a:gs pos="76250">
                                  <a:srgbClr val="FFFFFF"/>
                                </a:gs>
                                <a:gs pos="31000">
                                  <a:srgbClr val="FFFFFF"/>
                                </a:gs>
                              </a:gsLst>
                              <a:lin ang="5400000" scaled="0"/>
                            </a:gradFill>
                            <a:effectLst/>
                            <a:uLnTx/>
                            <a:uFillTx/>
                            <a:latin typeface="Segoe UI"/>
                            <a:ea typeface="Arial Unicode MS" panose="020B0604020202020204" pitchFamily="34" charset="-128"/>
                            <a:cs typeface="Segoe UI Light" panose="020B0502040204020203" pitchFamily="34" charset="0"/>
                          </a:rPr>
                        </a:br>
                        <a:r>
                          <a:rPr kumimoji="0" lang="en-US" sz="980" b="0" i="0" u="none" strike="noStrike" kern="0" cap="none" spc="0" normalizeH="0" baseline="0" noProof="0" dirty="0">
                            <a:ln>
                              <a:noFill/>
                            </a:ln>
                            <a:gradFill>
                              <a:gsLst>
                                <a:gs pos="76250">
                                  <a:srgbClr val="FFFFFF"/>
                                </a:gs>
                                <a:gs pos="31000">
                                  <a:srgbClr val="FFFFFF"/>
                                </a:gs>
                              </a:gsLst>
                              <a:lin ang="5400000" scaled="0"/>
                            </a:gradFill>
                            <a:effectLst/>
                            <a:uLnTx/>
                            <a:uFillTx/>
                            <a:latin typeface="Segoe UI"/>
                            <a:ea typeface="Arial Unicode MS" panose="020B0604020202020204" pitchFamily="34" charset="-128"/>
                            <a:cs typeface="Segoe UI Light" panose="020B0502040204020203" pitchFamily="34" charset="0"/>
                          </a:rPr>
                          <a:t>Database</a:t>
                        </a:r>
                      </a:p>
                    </p:txBody>
                  </p:sp>
                  <p:pic>
                    <p:nvPicPr>
                      <p:cNvPr id="396" name="Picture 171"/>
                      <p:cNvPicPr>
                        <a:picLocks noChangeAspect="1"/>
                      </p:cNvPicPr>
                      <p:nvPr/>
                    </p:nvPicPr>
                    <p:blipFill>
                      <a:blip r:embed="rId28" cstate="print">
                        <a:biLevel thresh="25000"/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369631" y="3452466"/>
                        <a:ext cx="296809" cy="29680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grpSp>
                <p:grpSp>
                  <p:nvGrpSpPr>
                    <p:cNvPr id="380" name="Group 389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7803051" y="3832282"/>
                      <a:ext cx="1013093" cy="300038"/>
                      <a:chOff x="8372726" y="4684418"/>
                      <a:chExt cx="1013318" cy="300005"/>
                    </a:xfrm>
                  </p:grpSpPr>
                  <p:sp>
                    <p:nvSpPr>
                      <p:cNvPr id="393" name="TextBox 392"/>
                      <p:cNvSpPr txBox="1"/>
                      <p:nvPr/>
                    </p:nvSpPr>
                    <p:spPr>
                      <a:xfrm>
                        <a:off x="8727084" y="4684418"/>
                        <a:ext cx="658960" cy="30000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  <p:txBody>
                      <a:bodyPr wrap="none" lIns="0" tIns="27971" rIns="0" bIns="0" anchor="ctr" anchorCtr="0"/>
                      <a:lstStyle>
                        <a:defPPr>
                          <a:defRPr lang="en-US"/>
                        </a:defPPr>
                        <a:lvl1pPr defTabSz="932317">
                          <a:lnSpc>
                            <a:spcPct val="90000"/>
                          </a:lnSpc>
                          <a:spcBef>
                            <a:spcPts val="600"/>
                          </a:spcBef>
                          <a:defRPr sz="1000">
                            <a:gradFill>
                              <a:gsLst>
                                <a:gs pos="76250">
                                  <a:schemeClr val="bg1"/>
                                </a:gs>
                                <a:gs pos="31000">
                                  <a:schemeClr val="bg1"/>
                                </a:gs>
                              </a:gsLst>
                              <a:lin ang="5400000" scaled="0"/>
                            </a:gradFill>
                            <a:latin typeface="+mn-lt"/>
                            <a:ea typeface="Arial Unicode MS" panose="020B0604020202020204" pitchFamily="34" charset="-128"/>
                            <a:cs typeface="Segoe UI Light" panose="020B0502040204020203" pitchFamily="34" charset="0"/>
                          </a:defRPr>
                        </a:lvl1pPr>
                      </a:lstStyle>
                      <a:p>
                        <a:pPr marL="0" marR="0" lvl="0" indent="0" defTabSz="913950" eaLnBrk="0" fontAlgn="base" latinLnBrk="0" hangingPunct="0">
                          <a:lnSpc>
                            <a:spcPct val="90000"/>
                          </a:lnSpc>
                          <a:spcBef>
                            <a:spcPts val="588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US" sz="980" b="0" i="0" u="none" strike="noStrike" kern="0" cap="none" spc="0" normalizeH="0" baseline="0" noProof="0" dirty="0" err="1">
                            <a:ln>
                              <a:noFill/>
                            </a:ln>
                            <a:gradFill>
                              <a:gsLst>
                                <a:gs pos="76250">
                                  <a:srgbClr val="FFFFFF"/>
                                </a:gs>
                                <a:gs pos="31000">
                                  <a:srgbClr val="FFFFFF"/>
                                </a:gs>
                              </a:gsLst>
                              <a:lin ang="5400000" scaled="0"/>
                            </a:gradFill>
                            <a:effectLst/>
                            <a:uLnTx/>
                            <a:uFillTx/>
                            <a:latin typeface="Segoe UI"/>
                            <a:ea typeface="Arial Unicode MS" panose="020B0604020202020204" pitchFamily="34" charset="-128"/>
                            <a:cs typeface="Segoe UI Light" panose="020B0502040204020203" pitchFamily="34" charset="0"/>
                          </a:rPr>
                          <a:t>DocumentDB</a:t>
                        </a:r>
                        <a:endParaRPr kumimoji="0" lang="en-US" sz="980" b="0" i="0" u="none" strike="noStrike" kern="0" cap="none" spc="0" normalizeH="0" baseline="0" noProof="0" dirty="0">
                          <a:ln>
                            <a:noFill/>
                          </a:ln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Arial Unicode MS" panose="020B0604020202020204" pitchFamily="34" charset="-128"/>
                          <a:cs typeface="Segoe UI Light" panose="020B0502040204020203" pitchFamily="34" charset="0"/>
                        </a:endParaRPr>
                      </a:p>
                    </p:txBody>
                  </p:sp>
                  <p:pic>
                    <p:nvPicPr>
                      <p:cNvPr id="394" name="Picture 173"/>
                      <p:cNvPicPr>
                        <a:picLocks noChangeAspect="1"/>
                      </p:cNvPicPr>
                      <p:nvPr/>
                    </p:nvPicPr>
                    <p:blipFill>
                      <a:blip r:embed="rId29" cstate="print">
                        <a:biLevel thresh="25000"/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372726" y="4693804"/>
                        <a:ext cx="290620" cy="29061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grpSp>
                <p:grpSp>
                  <p:nvGrpSpPr>
                    <p:cNvPr id="381" name="Group 390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7803720" y="3204660"/>
                      <a:ext cx="1012423" cy="309349"/>
                      <a:chOff x="8373395" y="4056866"/>
                      <a:chExt cx="1012648" cy="309315"/>
                    </a:xfrm>
                  </p:grpSpPr>
                  <p:sp>
                    <p:nvSpPr>
                      <p:cNvPr id="391" name="TextBox 390"/>
                      <p:cNvSpPr txBox="1"/>
                      <p:nvPr/>
                    </p:nvSpPr>
                    <p:spPr>
                      <a:xfrm>
                        <a:off x="8727084" y="4056866"/>
                        <a:ext cx="658959" cy="30159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  <p:txBody>
                      <a:bodyPr wrap="none" lIns="0" tIns="27971" rIns="0" bIns="0" anchor="ctr" anchorCtr="0"/>
                      <a:lstStyle>
                        <a:defPPr>
                          <a:defRPr lang="en-US"/>
                        </a:defPPr>
                        <a:lvl1pPr defTabSz="932317">
                          <a:lnSpc>
                            <a:spcPct val="90000"/>
                          </a:lnSpc>
                          <a:spcBef>
                            <a:spcPts val="600"/>
                          </a:spcBef>
                          <a:defRPr sz="1000">
                            <a:gradFill>
                              <a:gsLst>
                                <a:gs pos="76250">
                                  <a:schemeClr val="bg1"/>
                                </a:gs>
                                <a:gs pos="31000">
                                  <a:schemeClr val="bg1"/>
                                </a:gs>
                              </a:gsLst>
                              <a:lin ang="5400000" scaled="0"/>
                            </a:gradFill>
                            <a:latin typeface="+mn-lt"/>
                            <a:ea typeface="Arial Unicode MS" panose="020B0604020202020204" pitchFamily="34" charset="-128"/>
                            <a:cs typeface="Segoe UI Light" panose="020B0502040204020203" pitchFamily="34" charset="0"/>
                          </a:defRPr>
                        </a:lvl1pPr>
                      </a:lstStyle>
                      <a:p>
                        <a:pPr marL="0" marR="0" lvl="0" indent="0" defTabSz="913950" eaLnBrk="0" fontAlgn="base" latinLnBrk="0" hangingPunct="0">
                          <a:lnSpc>
                            <a:spcPct val="90000"/>
                          </a:lnSpc>
                          <a:spcBef>
                            <a:spcPts val="588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US" sz="980" b="0" i="0" u="none" strike="noStrike" kern="0" cap="none" spc="0" normalizeH="0" baseline="0" noProof="0" dirty="0" err="1">
                            <a:ln>
                              <a:noFill/>
                            </a:ln>
                            <a:gradFill>
                              <a:gsLst>
                                <a:gs pos="76250">
                                  <a:srgbClr val="FFFFFF"/>
                                </a:gs>
                                <a:gs pos="31000">
                                  <a:srgbClr val="FFFFFF"/>
                                </a:gs>
                              </a:gsLst>
                              <a:lin ang="5400000" scaled="0"/>
                            </a:gradFill>
                            <a:effectLst/>
                            <a:uLnTx/>
                            <a:uFillTx/>
                            <a:latin typeface="Segoe UI"/>
                            <a:ea typeface="Arial Unicode MS" panose="020B0604020202020204" pitchFamily="34" charset="-128"/>
                            <a:cs typeface="Segoe UI Light" panose="020B0502040204020203" pitchFamily="34" charset="0"/>
                          </a:rPr>
                          <a:t>Redis</a:t>
                        </a:r>
                        <a:br>
                          <a:rPr kumimoji="0" lang="en-US" sz="980" b="0" i="0" u="none" strike="noStrike" kern="0" cap="none" spc="0" normalizeH="0" baseline="0" noProof="0" dirty="0">
                            <a:ln>
                              <a:noFill/>
                            </a:ln>
                            <a:gradFill>
                              <a:gsLst>
                                <a:gs pos="76250">
                                  <a:srgbClr val="FFFFFF"/>
                                </a:gs>
                                <a:gs pos="31000">
                                  <a:srgbClr val="FFFFFF"/>
                                </a:gs>
                              </a:gsLst>
                              <a:lin ang="5400000" scaled="0"/>
                            </a:gradFill>
                            <a:effectLst/>
                            <a:uLnTx/>
                            <a:uFillTx/>
                            <a:latin typeface="Segoe UI"/>
                            <a:ea typeface="Arial Unicode MS" panose="020B0604020202020204" pitchFamily="34" charset="-128"/>
                            <a:cs typeface="Segoe UI Light" panose="020B0502040204020203" pitchFamily="34" charset="0"/>
                          </a:rPr>
                        </a:br>
                        <a:r>
                          <a:rPr kumimoji="0" lang="en-US" sz="980" b="0" i="0" u="none" strike="noStrike" kern="0" cap="none" spc="0" normalizeH="0" baseline="0" noProof="0" dirty="0">
                            <a:ln>
                              <a:noFill/>
                            </a:ln>
                            <a:gradFill>
                              <a:gsLst>
                                <a:gs pos="76250">
                                  <a:srgbClr val="FFFFFF"/>
                                </a:gs>
                                <a:gs pos="31000">
                                  <a:srgbClr val="FFFFFF"/>
                                </a:gs>
                              </a:gsLst>
                              <a:lin ang="5400000" scaled="0"/>
                            </a:gradFill>
                            <a:effectLst/>
                            <a:uLnTx/>
                            <a:uFillTx/>
                            <a:latin typeface="Segoe UI"/>
                            <a:ea typeface="Arial Unicode MS" panose="020B0604020202020204" pitchFamily="34" charset="-128"/>
                            <a:cs typeface="Segoe UI Light" panose="020B0502040204020203" pitchFamily="34" charset="0"/>
                          </a:rPr>
                          <a:t>Cache</a:t>
                        </a:r>
                      </a:p>
                    </p:txBody>
                  </p:sp>
                  <p:pic>
                    <p:nvPicPr>
                      <p:cNvPr id="392" name="Picture 175"/>
                      <p:cNvPicPr>
                        <a:picLocks noChangeAspect="1"/>
                      </p:cNvPicPr>
                      <p:nvPr/>
                    </p:nvPicPr>
                    <p:blipFill>
                      <a:blip r:embed="rId30" cstate="print">
                        <a:biLevel thresh="25000"/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373395" y="4076899"/>
                        <a:ext cx="289282" cy="28928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grpSp>
                <p:grpSp>
                  <p:nvGrpSpPr>
                    <p:cNvPr id="382" name="Group 391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9163663" y="3193851"/>
                      <a:ext cx="1081869" cy="331906"/>
                      <a:chOff x="9733640" y="4046058"/>
                      <a:chExt cx="1082109" cy="331869"/>
                    </a:xfrm>
                  </p:grpSpPr>
                  <p:sp>
                    <p:nvSpPr>
                      <p:cNvPr id="389" name="TextBox 388"/>
                      <p:cNvSpPr txBox="1"/>
                      <p:nvPr/>
                    </p:nvSpPr>
                    <p:spPr>
                      <a:xfrm>
                        <a:off x="10156790" y="4061991"/>
                        <a:ext cx="658959" cy="30000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  <p:txBody>
                      <a:bodyPr wrap="none" lIns="0" tIns="27971" rIns="0" bIns="0" anchor="ctr" anchorCtr="0"/>
                      <a:lstStyle>
                        <a:defPPr>
                          <a:defRPr lang="en-US"/>
                        </a:defPPr>
                        <a:lvl1pPr defTabSz="932317">
                          <a:lnSpc>
                            <a:spcPct val="90000"/>
                          </a:lnSpc>
                          <a:spcBef>
                            <a:spcPts val="600"/>
                          </a:spcBef>
                          <a:defRPr sz="1000">
                            <a:gradFill>
                              <a:gsLst>
                                <a:gs pos="76250">
                                  <a:schemeClr val="bg1"/>
                                </a:gs>
                                <a:gs pos="31000">
                                  <a:schemeClr val="bg1"/>
                                </a:gs>
                              </a:gsLst>
                              <a:lin ang="5400000" scaled="0"/>
                            </a:gradFill>
                            <a:latin typeface="+mn-lt"/>
                            <a:ea typeface="Arial Unicode MS" panose="020B0604020202020204" pitchFamily="34" charset="-128"/>
                            <a:cs typeface="Segoe UI Light" panose="020B0502040204020203" pitchFamily="34" charset="0"/>
                          </a:defRPr>
                        </a:lvl1pPr>
                      </a:lstStyle>
                      <a:p>
                        <a:pPr marL="0" marR="0" lvl="0" indent="0" defTabSz="913950" eaLnBrk="0" fontAlgn="base" latinLnBrk="0" hangingPunct="0">
                          <a:lnSpc>
                            <a:spcPct val="90000"/>
                          </a:lnSpc>
                          <a:spcBef>
                            <a:spcPts val="588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US" sz="980" b="0" i="0" u="none" strike="noStrike" kern="0" cap="none" spc="0" normalizeH="0" baseline="0" noProof="0" dirty="0">
                            <a:ln>
                              <a:noFill/>
                            </a:ln>
                            <a:gradFill>
                              <a:gsLst>
                                <a:gs pos="76250">
                                  <a:srgbClr val="FFFFFF"/>
                                </a:gs>
                                <a:gs pos="31000">
                                  <a:srgbClr val="FFFFFF"/>
                                </a:gs>
                              </a:gsLst>
                              <a:lin ang="5400000" scaled="0"/>
                            </a:gradFill>
                            <a:effectLst/>
                            <a:uLnTx/>
                            <a:uFillTx/>
                            <a:latin typeface="Segoe UI"/>
                            <a:ea typeface="Arial Unicode MS" panose="020B0604020202020204" pitchFamily="34" charset="-128"/>
                            <a:cs typeface="Segoe UI Light" panose="020B0502040204020203" pitchFamily="34" charset="0"/>
                          </a:rPr>
                          <a:t>Search</a:t>
                        </a:r>
                      </a:p>
                    </p:txBody>
                  </p:sp>
                  <p:pic>
                    <p:nvPicPr>
                      <p:cNvPr id="390" name="Picture 177"/>
                      <p:cNvPicPr>
                        <a:picLocks noChangeAspect="1"/>
                      </p:cNvPicPr>
                      <p:nvPr/>
                    </p:nvPicPr>
                    <p:blipFill>
                      <a:blip r:embed="rId31" cstate="print">
                        <a:biLevel thresh="25000"/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733640" y="4046058"/>
                        <a:ext cx="331871" cy="33186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grpSp>
                <p:grpSp>
                  <p:nvGrpSpPr>
                    <p:cNvPr id="383" name="Group 392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9193207" y="3828827"/>
                      <a:ext cx="1052326" cy="320650"/>
                      <a:chOff x="9763191" y="4680964"/>
                      <a:chExt cx="1052560" cy="320615"/>
                    </a:xfrm>
                  </p:grpSpPr>
                  <p:sp>
                    <p:nvSpPr>
                      <p:cNvPr id="387" name="TextBox 386"/>
                      <p:cNvSpPr txBox="1"/>
                      <p:nvPr/>
                    </p:nvSpPr>
                    <p:spPr>
                      <a:xfrm>
                        <a:off x="10156791" y="4693638"/>
                        <a:ext cx="658960" cy="30159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  <p:txBody>
                      <a:bodyPr wrap="none" lIns="0" tIns="27971" rIns="0" bIns="0" anchor="ctr" anchorCtr="0"/>
                      <a:lstStyle>
                        <a:defPPr>
                          <a:defRPr lang="en-US"/>
                        </a:defPPr>
                        <a:lvl1pPr defTabSz="932317">
                          <a:lnSpc>
                            <a:spcPct val="90000"/>
                          </a:lnSpc>
                          <a:spcBef>
                            <a:spcPts val="600"/>
                          </a:spcBef>
                          <a:defRPr sz="1000">
                            <a:gradFill>
                              <a:gsLst>
                                <a:gs pos="76250">
                                  <a:schemeClr val="bg1"/>
                                </a:gs>
                                <a:gs pos="31000">
                                  <a:schemeClr val="bg1"/>
                                </a:gs>
                              </a:gsLst>
                              <a:lin ang="5400000" scaled="0"/>
                            </a:gradFill>
                            <a:latin typeface="+mn-lt"/>
                            <a:ea typeface="Arial Unicode MS" panose="020B0604020202020204" pitchFamily="34" charset="-128"/>
                            <a:cs typeface="Segoe UI Light" panose="020B0502040204020203" pitchFamily="34" charset="0"/>
                          </a:defRPr>
                        </a:lvl1pPr>
                      </a:lstStyle>
                      <a:p>
                        <a:pPr marL="0" marR="0" lvl="0" indent="0" defTabSz="913950" eaLnBrk="0" fontAlgn="base" latinLnBrk="0" hangingPunct="0">
                          <a:lnSpc>
                            <a:spcPct val="90000"/>
                          </a:lnSpc>
                          <a:spcBef>
                            <a:spcPts val="588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US" sz="980" b="0" i="0" u="none" strike="noStrike" kern="0" cap="none" spc="0" normalizeH="0" baseline="0" noProof="0" dirty="0">
                            <a:ln>
                              <a:noFill/>
                            </a:ln>
                            <a:gradFill>
                              <a:gsLst>
                                <a:gs pos="76250">
                                  <a:srgbClr val="FFFFFF"/>
                                </a:gs>
                                <a:gs pos="31000">
                                  <a:srgbClr val="FFFFFF"/>
                                </a:gs>
                              </a:gsLst>
                              <a:lin ang="5400000" scaled="0"/>
                            </a:gradFill>
                            <a:effectLst/>
                            <a:uLnTx/>
                            <a:uFillTx/>
                            <a:latin typeface="Segoe UI"/>
                            <a:ea typeface="Arial Unicode MS" panose="020B0604020202020204" pitchFamily="34" charset="-128"/>
                            <a:cs typeface="Segoe UI Light" panose="020B0502040204020203" pitchFamily="34" charset="0"/>
                          </a:rPr>
                          <a:t>Tables</a:t>
                        </a:r>
                      </a:p>
                    </p:txBody>
                  </p:sp>
                  <p:pic>
                    <p:nvPicPr>
                      <p:cNvPr id="388" name="Picture 179" descr="Storage table.png"/>
                      <p:cNvPicPr>
                        <a:picLocks noChangeAspect="1"/>
                      </p:cNvPicPr>
                      <p:nvPr/>
                    </p:nvPicPr>
                    <p:blipFill>
                      <a:blip r:embed="rId32" cstate="print">
                        <a:biLevel thresh="25000"/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763191" y="4680964"/>
                        <a:ext cx="320616" cy="32061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grpSp>
                <p:grpSp>
                  <p:nvGrpSpPr>
                    <p:cNvPr id="384" name="Group 388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9193207" y="2595968"/>
                      <a:ext cx="790386" cy="325437"/>
                      <a:chOff x="9763191" y="3448241"/>
                      <a:chExt cx="790562" cy="325401"/>
                    </a:xfrm>
                  </p:grpSpPr>
                  <p:pic>
                    <p:nvPicPr>
                      <p:cNvPr id="385" name="Picture 16"/>
                      <p:cNvPicPr>
                        <a:picLocks noChangeAspect="1"/>
                      </p:cNvPicPr>
                      <p:nvPr/>
                    </p:nvPicPr>
                    <p:blipFill>
                      <a:blip r:embed="rId33" cstate="print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763191" y="3452465"/>
                        <a:ext cx="320616" cy="29055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  <p:sp>
                    <p:nvSpPr>
                      <p:cNvPr id="386" name="TextBox 385"/>
                      <p:cNvSpPr txBox="1"/>
                      <p:nvPr/>
                    </p:nvSpPr>
                    <p:spPr>
                      <a:xfrm>
                        <a:off x="10156790" y="3448241"/>
                        <a:ext cx="396963" cy="32540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  <p:txBody>
                      <a:bodyPr wrap="none" lIns="0" tIns="27971" rIns="0" bIns="0" anchor="ctr" anchorCtr="0"/>
                      <a:lstStyle>
                        <a:defPPr>
                          <a:defRPr lang="en-US"/>
                        </a:defPPr>
                        <a:lvl1pPr defTabSz="932317">
                          <a:lnSpc>
                            <a:spcPct val="90000"/>
                          </a:lnSpc>
                          <a:spcBef>
                            <a:spcPts val="600"/>
                          </a:spcBef>
                          <a:defRPr sz="1000">
                            <a:gradFill>
                              <a:gsLst>
                                <a:gs pos="76250">
                                  <a:schemeClr val="bg1"/>
                                </a:gs>
                                <a:gs pos="31000">
                                  <a:schemeClr val="bg1"/>
                                </a:gs>
                              </a:gsLst>
                              <a:lin ang="5400000" scaled="0"/>
                            </a:gradFill>
                            <a:latin typeface="+mn-lt"/>
                            <a:ea typeface="Arial Unicode MS" panose="020B0604020202020204" pitchFamily="34" charset="-128"/>
                            <a:cs typeface="Segoe UI Light" panose="020B0502040204020203" pitchFamily="34" charset="0"/>
                          </a:defRPr>
                        </a:lvl1pPr>
                      </a:lstStyle>
                      <a:p>
                        <a:pPr marL="0" marR="0" lvl="0" indent="0" defTabSz="913950" eaLnBrk="0" fontAlgn="base" latinLnBrk="0" hangingPunct="0">
                          <a:lnSpc>
                            <a:spcPct val="90000"/>
                          </a:lnSpc>
                          <a:spcBef>
                            <a:spcPts val="588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US" sz="980" b="0" i="0" u="none" strike="noStrike" kern="0" cap="none" spc="0" normalizeH="0" baseline="0" noProof="0" dirty="0">
                            <a:ln>
                              <a:noFill/>
                            </a:ln>
                            <a:gradFill>
                              <a:gsLst>
                                <a:gs pos="76250">
                                  <a:srgbClr val="FFFFFF"/>
                                </a:gs>
                                <a:gs pos="31000">
                                  <a:srgbClr val="FFFFFF"/>
                                </a:gs>
                              </a:gsLst>
                              <a:lin ang="5400000" scaled="0"/>
                            </a:gradFill>
                            <a:effectLst/>
                            <a:uLnTx/>
                            <a:uFillTx/>
                            <a:latin typeface="Segoe UI"/>
                            <a:ea typeface="Arial Unicode MS" panose="020B0604020202020204" pitchFamily="34" charset="-128"/>
                            <a:cs typeface="Segoe UI Light" panose="020B0502040204020203" pitchFamily="34" charset="0"/>
                          </a:rPr>
                          <a:t>SQL Data</a:t>
                        </a:r>
                        <a:br>
                          <a:rPr kumimoji="0" lang="en-US" sz="980" b="0" i="0" u="none" strike="noStrike" kern="0" cap="none" spc="0" normalizeH="0" baseline="0" noProof="0" dirty="0">
                            <a:ln>
                              <a:noFill/>
                            </a:ln>
                            <a:gradFill>
                              <a:gsLst>
                                <a:gs pos="76250">
                                  <a:srgbClr val="FFFFFF"/>
                                </a:gs>
                                <a:gs pos="31000">
                                  <a:srgbClr val="FFFFFF"/>
                                </a:gs>
                              </a:gsLst>
                              <a:lin ang="5400000" scaled="0"/>
                            </a:gradFill>
                            <a:effectLst/>
                            <a:uLnTx/>
                            <a:uFillTx/>
                            <a:latin typeface="Segoe UI"/>
                            <a:ea typeface="Arial Unicode MS" panose="020B0604020202020204" pitchFamily="34" charset="-128"/>
                            <a:cs typeface="Segoe UI Light" panose="020B0502040204020203" pitchFamily="34" charset="0"/>
                          </a:rPr>
                        </a:br>
                        <a:r>
                          <a:rPr kumimoji="0" lang="en-US" sz="980" b="0" i="0" u="none" strike="noStrike" kern="0" cap="none" spc="0" normalizeH="0" baseline="0" noProof="0" dirty="0">
                            <a:ln>
                              <a:noFill/>
                            </a:ln>
                            <a:gradFill>
                              <a:gsLst>
                                <a:gs pos="76250">
                                  <a:srgbClr val="FFFFFF"/>
                                </a:gs>
                                <a:gs pos="31000">
                                  <a:srgbClr val="FFFFFF"/>
                                </a:gs>
                              </a:gsLst>
                              <a:lin ang="5400000" scaled="0"/>
                            </a:gradFill>
                            <a:effectLst/>
                            <a:uLnTx/>
                            <a:uFillTx/>
                            <a:latin typeface="Segoe UI"/>
                            <a:ea typeface="Arial Unicode MS" panose="020B0604020202020204" pitchFamily="34" charset="-128"/>
                            <a:cs typeface="Segoe UI Light" panose="020B0502040204020203" pitchFamily="34" charset="0"/>
                          </a:rPr>
                          <a:t>Warehouse</a:t>
                        </a:r>
                      </a:p>
                    </p:txBody>
                  </p:sp>
                </p:grpSp>
              </p:grpSp>
            </p:grpSp>
            <p:grpSp>
              <p:nvGrpSpPr>
                <p:cNvPr id="349" name="Group 348"/>
                <p:cNvGrpSpPr/>
                <p:nvPr/>
              </p:nvGrpSpPr>
              <p:grpSpPr>
                <a:xfrm>
                  <a:off x="2082009" y="543029"/>
                  <a:ext cx="2144942" cy="1371600"/>
                  <a:chOff x="2082009" y="650979"/>
                  <a:chExt cx="2144942" cy="1371600"/>
                </a:xfrm>
              </p:grpSpPr>
              <p:sp>
                <p:nvSpPr>
                  <p:cNvPr id="364" name="Rectangle 363"/>
                  <p:cNvSpPr/>
                  <p:nvPr/>
                </p:nvSpPr>
                <p:spPr bwMode="auto">
                  <a:xfrm>
                    <a:off x="2082009" y="650979"/>
                    <a:ext cx="2144942" cy="1371600"/>
                  </a:xfrm>
                  <a:prstGeom prst="rect">
                    <a:avLst/>
                  </a:prstGeom>
                  <a:solidFill>
                    <a:srgbClr val="0072C6"/>
                  </a:solidFill>
                  <a:ln w="6350" cap="flat" cmpd="sng" algn="ctr">
                    <a:noFill/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  <p:txBody>
                  <a:bodyPr lIns="179285" tIns="143428" rIns="179285" bIns="143428"/>
                  <a:lstStyle/>
                  <a:p>
                    <a:pPr marL="0" marR="0" lvl="0" indent="0" algn="ctr" defTabSz="895923" eaLnBrk="1" fontAlgn="base" latinLnBrk="0" hangingPunct="1">
                      <a:lnSpc>
                        <a:spcPct val="9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176" b="0" i="0" u="none" strike="noStrike" kern="0" cap="none" spc="0" normalizeH="0" baseline="0" noProof="0" dirty="0">
                        <a:ln>
                          <a:noFill/>
                        </a:ln>
                        <a:gradFill>
                          <a:gsLst>
                            <a:gs pos="76250">
                              <a:srgbClr val="FFFFFF"/>
                            </a:gs>
                            <a:gs pos="31000">
                              <a:srgbClr val="FFFFFF"/>
                            </a:gs>
                          </a:gsLst>
                          <a:lin ang="5400000" scaled="0"/>
                        </a:gradFill>
                        <a:effectLst/>
                        <a:uLnTx/>
                        <a:uFillTx/>
                        <a:latin typeface="Segoe UI Semibold" panose="020B0702040204020203" pitchFamily="34" charset="0"/>
                        <a:ea typeface="Segoe UI" pitchFamily="34" charset="0"/>
                        <a:cs typeface="Segoe UI Semibold" panose="020B0702040204020203" pitchFamily="34" charset="0"/>
                      </a:rPr>
                      <a:t>Compute</a:t>
                    </a:r>
                  </a:p>
                </p:txBody>
              </p:sp>
              <p:grpSp>
                <p:nvGrpSpPr>
                  <p:cNvPr id="365" name="Group 364"/>
                  <p:cNvGrpSpPr/>
                  <p:nvPr/>
                </p:nvGrpSpPr>
                <p:grpSpPr>
                  <a:xfrm>
                    <a:off x="2209151" y="1044910"/>
                    <a:ext cx="889842" cy="301625"/>
                    <a:chOff x="2315921" y="978921"/>
                    <a:chExt cx="889842" cy="301625"/>
                  </a:xfrm>
                </p:grpSpPr>
                <p:sp>
                  <p:nvSpPr>
                    <p:cNvPr id="375" name="TextBox 374"/>
                    <p:cNvSpPr txBox="1"/>
                    <p:nvPr/>
                  </p:nvSpPr>
                  <p:spPr bwMode="auto">
                    <a:xfrm>
                      <a:off x="2678517" y="978921"/>
                      <a:ext cx="527246" cy="301625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txBody>
                    <a:bodyPr wrap="none" lIns="0" tIns="27971" rIns="0" bIns="0" anchor="ctr" anchorCtr="0"/>
                    <a:lstStyle>
                      <a:defPPr>
                        <a:defRPr lang="en-US"/>
                      </a:defPPr>
                      <a:lvl1pPr defTabSz="932317">
                        <a:lnSpc>
                          <a:spcPct val="90000"/>
                        </a:lnSpc>
                        <a:spcBef>
                          <a:spcPts val="600"/>
                        </a:spcBef>
                        <a:defRPr sz="1000">
                          <a:gradFill>
                            <a:gsLst>
                              <a:gs pos="76250">
                                <a:schemeClr val="bg1"/>
                              </a:gs>
                              <a:gs pos="31000">
                                <a:schemeClr val="bg1"/>
                              </a:gs>
                            </a:gsLst>
                            <a:lin ang="5400000" scaled="0"/>
                          </a:gradFill>
                          <a:latin typeface="+mn-lt"/>
                          <a:ea typeface="Arial Unicode MS" panose="020B0604020202020204" pitchFamily="34" charset="-128"/>
                          <a:cs typeface="Segoe UI Light" panose="020B0502040204020203" pitchFamily="34" charset="0"/>
                        </a:defRPr>
                      </a:lvl1pPr>
                    </a:lstStyle>
                    <a:p>
                      <a:pPr marL="0" marR="0" lvl="0" indent="0" defTabSz="913950" eaLnBrk="0" fontAlgn="base" latinLnBrk="0" hangingPunct="0">
                        <a:lnSpc>
                          <a:spcPct val="90000"/>
                        </a:lnSpc>
                        <a:spcBef>
                          <a:spcPts val="588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80" b="0" i="0" u="none" strike="noStrike" kern="0" cap="none" spc="0" normalizeH="0" baseline="0" noProof="0" dirty="0">
                          <a:ln>
                            <a:noFill/>
                          </a:ln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Arial Unicode MS" panose="020B0604020202020204" pitchFamily="34" charset="-128"/>
                          <a:cs typeface="Segoe UI Light" panose="020B0502040204020203" pitchFamily="34" charset="0"/>
                        </a:rPr>
                        <a:t>Cloud</a:t>
                      </a:r>
                      <a:br>
                        <a:rPr kumimoji="0" lang="en-US" sz="980" b="0" i="0" u="none" strike="noStrike" kern="0" cap="none" spc="0" normalizeH="0" baseline="0" noProof="0" dirty="0">
                          <a:ln>
                            <a:noFill/>
                          </a:ln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Arial Unicode MS" panose="020B0604020202020204" pitchFamily="34" charset="-128"/>
                          <a:cs typeface="Segoe UI Light" panose="020B0502040204020203" pitchFamily="34" charset="0"/>
                        </a:rPr>
                      </a:br>
                      <a:r>
                        <a:rPr kumimoji="0" lang="en-US" sz="980" b="0" i="0" u="none" strike="noStrike" kern="0" cap="none" spc="0" normalizeH="0" baseline="0" noProof="0" dirty="0">
                          <a:ln>
                            <a:noFill/>
                          </a:ln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Arial Unicode MS" panose="020B0604020202020204" pitchFamily="34" charset="-128"/>
                          <a:cs typeface="Segoe UI Light" panose="020B0502040204020203" pitchFamily="34" charset="0"/>
                        </a:rPr>
                        <a:t>Services</a:t>
                      </a:r>
                    </a:p>
                  </p:txBody>
                </p:sp>
                <p:pic>
                  <p:nvPicPr>
                    <p:cNvPr id="376" name="Picture 145"/>
                    <p:cNvPicPr>
                      <a:picLocks noChangeAspect="1"/>
                    </p:cNvPicPr>
                    <p:nvPr/>
                  </p:nvPicPr>
                  <p:blipFill>
                    <a:blip r:embed="rId34" cstate="print">
                      <a:biLevel thresh="25000"/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rcRect/>
                    <a:stretch>
                      <a:fillRect/>
                    </a:stretch>
                  </p:blipFill>
                  <p:spPr bwMode="auto">
                    <a:xfrm>
                      <a:off x="2315921" y="984779"/>
                      <a:ext cx="289808" cy="289909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</p:pic>
              </p:grpSp>
              <p:grpSp>
                <p:nvGrpSpPr>
                  <p:cNvPr id="366" name="Group 365"/>
                  <p:cNvGrpSpPr/>
                  <p:nvPr/>
                </p:nvGrpSpPr>
                <p:grpSpPr>
                  <a:xfrm>
                    <a:off x="2209151" y="1617332"/>
                    <a:ext cx="751241" cy="303647"/>
                    <a:chOff x="2355344" y="1558000"/>
                    <a:chExt cx="751241" cy="303647"/>
                  </a:xfrm>
                </p:grpSpPr>
                <p:sp>
                  <p:nvSpPr>
                    <p:cNvPr id="373" name="TextBox 372"/>
                    <p:cNvSpPr txBox="1"/>
                    <p:nvPr/>
                  </p:nvSpPr>
                  <p:spPr bwMode="auto">
                    <a:xfrm>
                      <a:off x="2722967" y="1559012"/>
                      <a:ext cx="383618" cy="301624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txBody>
                    <a:bodyPr wrap="none" lIns="0" tIns="27971" rIns="0" bIns="0" anchor="ctr" anchorCtr="0"/>
                    <a:lstStyle>
                      <a:defPPr>
                        <a:defRPr lang="en-US"/>
                      </a:defPPr>
                      <a:lvl1pPr defTabSz="932317">
                        <a:lnSpc>
                          <a:spcPct val="90000"/>
                        </a:lnSpc>
                        <a:spcBef>
                          <a:spcPts val="600"/>
                        </a:spcBef>
                        <a:defRPr sz="1000">
                          <a:gradFill>
                            <a:gsLst>
                              <a:gs pos="76250">
                                <a:schemeClr val="bg1"/>
                              </a:gs>
                              <a:gs pos="31000">
                                <a:schemeClr val="bg1"/>
                              </a:gs>
                            </a:gsLst>
                            <a:lin ang="5400000" scaled="0"/>
                          </a:gradFill>
                          <a:latin typeface="+mn-lt"/>
                          <a:ea typeface="Arial Unicode MS" panose="020B0604020202020204" pitchFamily="34" charset="-128"/>
                          <a:cs typeface="Segoe UI Light" panose="020B0502040204020203" pitchFamily="34" charset="0"/>
                        </a:defRPr>
                      </a:lvl1pPr>
                    </a:lstStyle>
                    <a:p>
                      <a:pPr marL="0" marR="0" lvl="0" indent="0" defTabSz="913950" eaLnBrk="0" fontAlgn="base" latinLnBrk="0" hangingPunct="0">
                        <a:lnSpc>
                          <a:spcPct val="90000"/>
                        </a:lnSpc>
                        <a:spcBef>
                          <a:spcPts val="588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80" b="0" i="0" u="none" strike="noStrike" kern="0" cap="none" spc="0" normalizeH="0" baseline="0" noProof="0" dirty="0">
                          <a:ln>
                            <a:noFill/>
                          </a:ln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Arial Unicode MS" panose="020B0604020202020204" pitchFamily="34" charset="-128"/>
                          <a:cs typeface="Segoe UI Light" panose="020B0502040204020203" pitchFamily="34" charset="0"/>
                        </a:rPr>
                        <a:t>Batch</a:t>
                      </a:r>
                    </a:p>
                  </p:txBody>
                </p:sp>
                <p:pic>
                  <p:nvPicPr>
                    <p:cNvPr id="374" name="Picture 147"/>
                    <p:cNvPicPr>
                      <a:picLocks noChangeAspect="1"/>
                    </p:cNvPicPr>
                    <p:nvPr/>
                  </p:nvPicPr>
                  <p:blipFill>
                    <a:blip r:embed="rId35" cstate="print">
                      <a:biLevel thresh="25000"/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rcRect/>
                    <a:stretch>
                      <a:fillRect/>
                    </a:stretch>
                  </p:blipFill>
                  <p:spPr bwMode="auto">
                    <a:xfrm>
                      <a:off x="2355344" y="1558000"/>
                      <a:ext cx="303542" cy="303647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</p:pic>
              </p:grpSp>
              <p:grpSp>
                <p:nvGrpSpPr>
                  <p:cNvPr id="367" name="Group 366"/>
                  <p:cNvGrpSpPr/>
                  <p:nvPr/>
                </p:nvGrpSpPr>
                <p:grpSpPr>
                  <a:xfrm>
                    <a:off x="3226725" y="1617332"/>
                    <a:ext cx="865731" cy="301625"/>
                    <a:chOff x="3193533" y="1551343"/>
                    <a:chExt cx="865731" cy="301625"/>
                  </a:xfrm>
                </p:grpSpPr>
                <p:sp>
                  <p:nvSpPr>
                    <p:cNvPr id="371" name="TextBox 370"/>
                    <p:cNvSpPr txBox="1"/>
                    <p:nvPr/>
                  </p:nvSpPr>
                  <p:spPr bwMode="auto">
                    <a:xfrm>
                      <a:off x="3554337" y="1551343"/>
                      <a:ext cx="504927" cy="301625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txBody>
                    <a:bodyPr wrap="none" lIns="0" tIns="27971" rIns="0" bIns="0" anchor="ctr" anchorCtr="0"/>
                    <a:lstStyle>
                      <a:defPPr>
                        <a:defRPr lang="en-US"/>
                      </a:defPPr>
                      <a:lvl1pPr defTabSz="932317">
                        <a:lnSpc>
                          <a:spcPct val="90000"/>
                        </a:lnSpc>
                        <a:spcBef>
                          <a:spcPts val="600"/>
                        </a:spcBef>
                        <a:defRPr sz="1000">
                          <a:gradFill>
                            <a:gsLst>
                              <a:gs pos="76250">
                                <a:schemeClr val="bg1"/>
                              </a:gs>
                              <a:gs pos="31000">
                                <a:schemeClr val="bg1"/>
                              </a:gs>
                            </a:gsLst>
                            <a:lin ang="5400000" scaled="0"/>
                          </a:gradFill>
                          <a:latin typeface="+mn-lt"/>
                          <a:ea typeface="Arial Unicode MS" panose="020B0604020202020204" pitchFamily="34" charset="-128"/>
                          <a:cs typeface="Segoe UI Light" panose="020B0502040204020203" pitchFamily="34" charset="0"/>
                        </a:defRPr>
                      </a:lvl1pPr>
                    </a:lstStyle>
                    <a:p>
                      <a:pPr marL="0" marR="0" lvl="0" indent="0" defTabSz="913950" eaLnBrk="0" fontAlgn="base" latinLnBrk="0" hangingPunct="0">
                        <a:lnSpc>
                          <a:spcPct val="90000"/>
                        </a:lnSpc>
                        <a:spcBef>
                          <a:spcPts val="588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80" b="0" i="0" u="none" strike="noStrike" kern="0" cap="none" spc="0" normalizeH="0" baseline="0" noProof="0" dirty="0">
                          <a:ln>
                            <a:noFill/>
                          </a:ln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Arial Unicode MS" panose="020B0604020202020204" pitchFamily="34" charset="-128"/>
                          <a:cs typeface="Segoe UI Light" panose="020B0502040204020203" pitchFamily="34" charset="0"/>
                        </a:rPr>
                        <a:t>Remote </a:t>
                      </a:r>
                      <a:br>
                        <a:rPr kumimoji="0" lang="en-US" sz="980" b="0" i="0" u="none" strike="noStrike" kern="0" cap="none" spc="0" normalizeH="0" baseline="0" noProof="0" dirty="0">
                          <a:ln>
                            <a:noFill/>
                          </a:ln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Arial Unicode MS" panose="020B0604020202020204" pitchFamily="34" charset="-128"/>
                          <a:cs typeface="Segoe UI Light" panose="020B0502040204020203" pitchFamily="34" charset="0"/>
                        </a:rPr>
                      </a:br>
                      <a:r>
                        <a:rPr kumimoji="0" lang="en-US" sz="980" b="0" i="0" u="none" strike="noStrike" kern="0" cap="none" spc="0" normalizeH="0" baseline="0" noProof="0" dirty="0">
                          <a:ln>
                            <a:noFill/>
                          </a:ln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Arial Unicode MS" panose="020B0604020202020204" pitchFamily="34" charset="-128"/>
                          <a:cs typeface="Segoe UI Light" panose="020B0502040204020203" pitchFamily="34" charset="0"/>
                        </a:rPr>
                        <a:t>App</a:t>
                      </a:r>
                    </a:p>
                  </p:txBody>
                </p:sp>
                <p:pic>
                  <p:nvPicPr>
                    <p:cNvPr id="372" name="Picture 149"/>
                    <p:cNvPicPr>
                      <a:picLocks noChangeAspect="1"/>
                    </p:cNvPicPr>
                    <p:nvPr/>
                  </p:nvPicPr>
                  <p:blipFill>
                    <a:blip r:embed="rId36" cstate="print">
                      <a:biLevel thresh="25000"/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rcRect/>
                    <a:stretch>
                      <a:fillRect/>
                    </a:stretch>
                  </p:blipFill>
                  <p:spPr bwMode="auto">
                    <a:xfrm>
                      <a:off x="3193533" y="1556274"/>
                      <a:ext cx="291661" cy="291762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</p:pic>
              </p:grpSp>
              <p:grpSp>
                <p:nvGrpSpPr>
                  <p:cNvPr id="368" name="Group 367"/>
                  <p:cNvGrpSpPr/>
                  <p:nvPr/>
                </p:nvGrpSpPr>
                <p:grpSpPr>
                  <a:xfrm>
                    <a:off x="3226725" y="1046498"/>
                    <a:ext cx="873084" cy="300037"/>
                    <a:chOff x="3380111" y="980440"/>
                    <a:chExt cx="873084" cy="300037"/>
                  </a:xfrm>
                </p:grpSpPr>
                <p:sp>
                  <p:nvSpPr>
                    <p:cNvPr id="369" name="TextBox 368"/>
                    <p:cNvSpPr txBox="1"/>
                    <p:nvPr/>
                  </p:nvSpPr>
                  <p:spPr bwMode="auto">
                    <a:xfrm>
                      <a:off x="3723011" y="980440"/>
                      <a:ext cx="530184" cy="300037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txBody>
                    <a:bodyPr wrap="none" lIns="0" tIns="27971" rIns="0" bIns="0" anchor="ctr" anchorCtr="0"/>
                    <a:lstStyle>
                      <a:defPPr>
                        <a:defRPr lang="en-US"/>
                      </a:defPPr>
                      <a:lvl1pPr defTabSz="932317">
                        <a:lnSpc>
                          <a:spcPct val="90000"/>
                        </a:lnSpc>
                        <a:spcBef>
                          <a:spcPts val="600"/>
                        </a:spcBef>
                        <a:defRPr sz="1000">
                          <a:gradFill>
                            <a:gsLst>
                              <a:gs pos="76250">
                                <a:schemeClr val="bg1"/>
                              </a:gs>
                              <a:gs pos="31000">
                                <a:schemeClr val="bg1"/>
                              </a:gs>
                            </a:gsLst>
                            <a:lin ang="5400000" scaled="0"/>
                          </a:gradFill>
                          <a:latin typeface="+mn-lt"/>
                          <a:ea typeface="Arial Unicode MS" panose="020B0604020202020204" pitchFamily="34" charset="-128"/>
                          <a:cs typeface="Segoe UI Light" panose="020B0502040204020203" pitchFamily="34" charset="0"/>
                        </a:defRPr>
                      </a:lvl1pPr>
                    </a:lstStyle>
                    <a:p>
                      <a:pPr marL="0" marR="0" lvl="0" indent="0" defTabSz="913950" eaLnBrk="0" fontAlgn="base" latinLnBrk="0" hangingPunct="0">
                        <a:lnSpc>
                          <a:spcPct val="90000"/>
                        </a:lnSpc>
                        <a:spcBef>
                          <a:spcPts val="588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80" b="0" i="0" u="none" strike="noStrike" kern="0" cap="none" spc="0" normalizeH="0" baseline="0" noProof="0" dirty="0">
                          <a:ln>
                            <a:noFill/>
                          </a:ln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Arial Unicode MS" panose="020B0604020202020204" pitchFamily="34" charset="-128"/>
                          <a:cs typeface="Segoe UI Light" panose="020B0502040204020203" pitchFamily="34" charset="0"/>
                        </a:rPr>
                        <a:t>Service</a:t>
                      </a:r>
                      <a:br>
                        <a:rPr kumimoji="0" lang="en-US" sz="980" b="0" i="0" u="none" strike="noStrike" kern="0" cap="none" spc="0" normalizeH="0" baseline="0" noProof="0" dirty="0">
                          <a:ln>
                            <a:noFill/>
                          </a:ln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Arial Unicode MS" panose="020B0604020202020204" pitchFamily="34" charset="-128"/>
                          <a:cs typeface="Segoe UI Light" panose="020B0502040204020203" pitchFamily="34" charset="0"/>
                        </a:rPr>
                      </a:br>
                      <a:r>
                        <a:rPr kumimoji="0" lang="en-US" sz="980" b="0" i="0" u="none" strike="noStrike" kern="0" cap="none" spc="0" normalizeH="0" baseline="0" noProof="0" dirty="0">
                          <a:ln>
                            <a:noFill/>
                          </a:ln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Arial Unicode MS" panose="020B0604020202020204" pitchFamily="34" charset="-128"/>
                          <a:cs typeface="Segoe UI Light" panose="020B0502040204020203" pitchFamily="34" charset="0"/>
                        </a:rPr>
                        <a:t>Fabric</a:t>
                      </a:r>
                    </a:p>
                  </p:txBody>
                </p:sp>
                <p:sp>
                  <p:nvSpPr>
                    <p:cNvPr id="370" name="Freeform 369"/>
                    <p:cNvSpPr/>
                    <p:nvPr/>
                  </p:nvSpPr>
                  <p:spPr bwMode="auto">
                    <a:xfrm>
                      <a:off x="3380111" y="993933"/>
                      <a:ext cx="282575" cy="273050"/>
                    </a:xfrm>
                    <a:custGeom>
                      <a:avLst/>
                      <a:gdLst>
                        <a:gd name="connsiteX0" fmla="*/ 284961 w 673895"/>
                        <a:gd name="connsiteY0" fmla="*/ 158165 h 647702"/>
                        <a:gd name="connsiteX1" fmla="*/ 170786 w 673895"/>
                        <a:gd name="connsiteY1" fmla="*/ 242195 h 647702"/>
                        <a:gd name="connsiteX2" fmla="*/ 176214 w 673895"/>
                        <a:gd name="connsiteY2" fmla="*/ 269082 h 647702"/>
                        <a:gd name="connsiteX3" fmla="*/ 150408 w 673895"/>
                        <a:gd name="connsiteY3" fmla="*/ 331383 h 647702"/>
                        <a:gd name="connsiteX4" fmla="*/ 146443 w 673895"/>
                        <a:gd name="connsiteY4" fmla="*/ 334057 h 647702"/>
                        <a:gd name="connsiteX5" fmla="*/ 192422 w 673895"/>
                        <a:gd name="connsiteY5" fmla="*/ 472837 h 647702"/>
                        <a:gd name="connsiteX6" fmla="*/ 220034 w 673895"/>
                        <a:gd name="connsiteY6" fmla="*/ 478412 h 647702"/>
                        <a:gd name="connsiteX7" fmla="*/ 248039 w 673895"/>
                        <a:gd name="connsiteY7" fmla="*/ 497294 h 647702"/>
                        <a:gd name="connsiteX8" fmla="*/ 265572 w 673895"/>
                        <a:gd name="connsiteY8" fmla="*/ 523298 h 647702"/>
                        <a:gd name="connsiteX9" fmla="*/ 408956 w 673895"/>
                        <a:gd name="connsiteY9" fmla="*/ 523298 h 647702"/>
                        <a:gd name="connsiteX10" fmla="*/ 417479 w 673895"/>
                        <a:gd name="connsiteY10" fmla="*/ 505571 h 647702"/>
                        <a:gd name="connsiteX11" fmla="*/ 456243 w 673895"/>
                        <a:gd name="connsiteY11" fmla="*/ 473649 h 647702"/>
                        <a:gd name="connsiteX12" fmla="*/ 488887 w 673895"/>
                        <a:gd name="connsiteY12" fmla="*/ 467058 h 647702"/>
                        <a:gd name="connsiteX13" fmla="*/ 531395 w 673895"/>
                        <a:gd name="connsiteY13" fmla="*/ 334333 h 647702"/>
                        <a:gd name="connsiteX14" fmla="*/ 523487 w 673895"/>
                        <a:gd name="connsiteY14" fmla="*/ 329002 h 647702"/>
                        <a:gd name="connsiteX15" fmla="*/ 497681 w 673895"/>
                        <a:gd name="connsiteY15" fmla="*/ 266701 h 647702"/>
                        <a:gd name="connsiteX16" fmla="*/ 501673 w 673895"/>
                        <a:gd name="connsiteY16" fmla="*/ 246929 h 647702"/>
                        <a:gd name="connsiteX17" fmla="*/ 384346 w 673895"/>
                        <a:gd name="connsiteY17" fmla="*/ 159653 h 647702"/>
                        <a:gd name="connsiteX18" fmla="*/ 370052 w 673895"/>
                        <a:gd name="connsiteY18" fmla="*/ 169290 h 647702"/>
                        <a:gd name="connsiteX19" fmla="*/ 335757 w 673895"/>
                        <a:gd name="connsiteY19" fmla="*/ 176214 h 647702"/>
                        <a:gd name="connsiteX20" fmla="*/ 301462 w 673895"/>
                        <a:gd name="connsiteY20" fmla="*/ 169290 h 647702"/>
                        <a:gd name="connsiteX21" fmla="*/ 335757 w 673895"/>
                        <a:gd name="connsiteY21" fmla="*/ 0 h 647702"/>
                        <a:gd name="connsiteX22" fmla="*/ 423864 w 673895"/>
                        <a:gd name="connsiteY22" fmla="*/ 88107 h 647702"/>
                        <a:gd name="connsiteX23" fmla="*/ 420253 w 673895"/>
                        <a:gd name="connsiteY23" fmla="*/ 105993 h 647702"/>
                        <a:gd name="connsiteX24" fmla="*/ 538728 w 673895"/>
                        <a:gd name="connsiteY24" fmla="*/ 194124 h 647702"/>
                        <a:gd name="connsiteX25" fmla="*/ 551493 w 673895"/>
                        <a:gd name="connsiteY25" fmla="*/ 185518 h 647702"/>
                        <a:gd name="connsiteX26" fmla="*/ 585788 w 673895"/>
                        <a:gd name="connsiteY26" fmla="*/ 178594 h 647702"/>
                        <a:gd name="connsiteX27" fmla="*/ 673895 w 673895"/>
                        <a:gd name="connsiteY27" fmla="*/ 266701 h 647702"/>
                        <a:gd name="connsiteX28" fmla="*/ 620083 w 673895"/>
                        <a:gd name="connsiteY28" fmla="*/ 347884 h 647702"/>
                        <a:gd name="connsiteX29" fmla="*/ 593016 w 673895"/>
                        <a:gd name="connsiteY29" fmla="*/ 353349 h 647702"/>
                        <a:gd name="connsiteX30" fmla="*/ 549222 w 673895"/>
                        <a:gd name="connsiteY30" fmla="*/ 490092 h 647702"/>
                        <a:gd name="connsiteX31" fmla="*/ 552839 w 673895"/>
                        <a:gd name="connsiteY31" fmla="*/ 492531 h 647702"/>
                        <a:gd name="connsiteX32" fmla="*/ 578645 w 673895"/>
                        <a:gd name="connsiteY32" fmla="*/ 554832 h 647702"/>
                        <a:gd name="connsiteX33" fmla="*/ 490538 w 673895"/>
                        <a:gd name="connsiteY33" fmla="*/ 642939 h 647702"/>
                        <a:gd name="connsiteX34" fmla="*/ 409355 w 673895"/>
                        <a:gd name="connsiteY34" fmla="*/ 589127 h 647702"/>
                        <a:gd name="connsiteX35" fmla="*/ 409084 w 673895"/>
                        <a:gd name="connsiteY35" fmla="*/ 587783 h 647702"/>
                        <a:gd name="connsiteX36" fmla="*/ 268154 w 673895"/>
                        <a:gd name="connsiteY36" fmla="*/ 587783 h 647702"/>
                        <a:gd name="connsiteX37" fmla="*/ 266921 w 673895"/>
                        <a:gd name="connsiteY37" fmla="*/ 593890 h 647702"/>
                        <a:gd name="connsiteX38" fmla="*/ 185738 w 673895"/>
                        <a:gd name="connsiteY38" fmla="*/ 647702 h 647702"/>
                        <a:gd name="connsiteX39" fmla="*/ 97631 w 673895"/>
                        <a:gd name="connsiteY39" fmla="*/ 559595 h 647702"/>
                        <a:gd name="connsiteX40" fmla="*/ 123437 w 673895"/>
                        <a:gd name="connsiteY40" fmla="*/ 497294 h 647702"/>
                        <a:gd name="connsiteX41" fmla="*/ 130921 w 673895"/>
                        <a:gd name="connsiteY41" fmla="*/ 492248 h 647702"/>
                        <a:gd name="connsiteX42" fmla="*/ 86036 w 673895"/>
                        <a:gd name="connsiteY42" fmla="*/ 356771 h 647702"/>
                        <a:gd name="connsiteX43" fmla="*/ 53812 w 673895"/>
                        <a:gd name="connsiteY43" fmla="*/ 350265 h 647702"/>
                        <a:gd name="connsiteX44" fmla="*/ 0 w 673895"/>
                        <a:gd name="connsiteY44" fmla="*/ 269082 h 647702"/>
                        <a:gd name="connsiteX45" fmla="*/ 88107 w 673895"/>
                        <a:gd name="connsiteY45" fmla="*/ 180975 h 647702"/>
                        <a:gd name="connsiteX46" fmla="*/ 122402 w 673895"/>
                        <a:gd name="connsiteY46" fmla="*/ 187899 h 647702"/>
                        <a:gd name="connsiteX47" fmla="*/ 129378 w 673895"/>
                        <a:gd name="connsiteY47" fmla="*/ 192602 h 647702"/>
                        <a:gd name="connsiteX48" fmla="*/ 250718 w 673895"/>
                        <a:gd name="connsiteY48" fmla="*/ 103300 h 647702"/>
                        <a:gd name="connsiteX49" fmla="*/ 247650 w 673895"/>
                        <a:gd name="connsiteY49" fmla="*/ 88107 h 647702"/>
                        <a:gd name="connsiteX50" fmla="*/ 335757 w 673895"/>
                        <a:gd name="connsiteY50" fmla="*/ 0 h 64770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  <a:cxn ang="0">
                          <a:pos x="connsiteX36" y="connsiteY36"/>
                        </a:cxn>
                        <a:cxn ang="0">
                          <a:pos x="connsiteX37" y="connsiteY37"/>
                        </a:cxn>
                        <a:cxn ang="0">
                          <a:pos x="connsiteX38" y="connsiteY38"/>
                        </a:cxn>
                        <a:cxn ang="0">
                          <a:pos x="connsiteX39" y="connsiteY39"/>
                        </a:cxn>
                        <a:cxn ang="0">
                          <a:pos x="connsiteX40" y="connsiteY40"/>
                        </a:cxn>
                        <a:cxn ang="0">
                          <a:pos x="connsiteX41" y="connsiteY41"/>
                        </a:cxn>
                        <a:cxn ang="0">
                          <a:pos x="connsiteX42" y="connsiteY42"/>
                        </a:cxn>
                        <a:cxn ang="0">
                          <a:pos x="connsiteX43" y="connsiteY43"/>
                        </a:cxn>
                        <a:cxn ang="0">
                          <a:pos x="connsiteX44" y="connsiteY44"/>
                        </a:cxn>
                        <a:cxn ang="0">
                          <a:pos x="connsiteX45" y="connsiteY45"/>
                        </a:cxn>
                        <a:cxn ang="0">
                          <a:pos x="connsiteX46" y="connsiteY46"/>
                        </a:cxn>
                        <a:cxn ang="0">
                          <a:pos x="connsiteX47" y="connsiteY47"/>
                        </a:cxn>
                        <a:cxn ang="0">
                          <a:pos x="connsiteX48" y="connsiteY48"/>
                        </a:cxn>
                        <a:cxn ang="0">
                          <a:pos x="connsiteX49" y="connsiteY49"/>
                        </a:cxn>
                        <a:cxn ang="0">
                          <a:pos x="connsiteX50" y="connsiteY50"/>
                        </a:cxn>
                      </a:cxnLst>
                      <a:rect l="l" t="t" r="r" b="b"/>
                      <a:pathLst>
                        <a:path w="673895" h="647702">
                          <a:moveTo>
                            <a:pt x="284961" y="158165"/>
                          </a:moveTo>
                          <a:lnTo>
                            <a:pt x="170786" y="242195"/>
                          </a:lnTo>
                          <a:lnTo>
                            <a:pt x="176214" y="269082"/>
                          </a:lnTo>
                          <a:cubicBezTo>
                            <a:pt x="176214" y="293412"/>
                            <a:pt x="166353" y="315439"/>
                            <a:pt x="150408" y="331383"/>
                          </a:cubicBezTo>
                          <a:lnTo>
                            <a:pt x="146443" y="334057"/>
                          </a:lnTo>
                          <a:lnTo>
                            <a:pt x="192422" y="472837"/>
                          </a:lnTo>
                          <a:lnTo>
                            <a:pt x="220034" y="478412"/>
                          </a:lnTo>
                          <a:cubicBezTo>
                            <a:pt x="230575" y="482870"/>
                            <a:pt x="240067" y="489322"/>
                            <a:pt x="248039" y="497294"/>
                          </a:cubicBezTo>
                          <a:lnTo>
                            <a:pt x="265572" y="523298"/>
                          </a:lnTo>
                          <a:lnTo>
                            <a:pt x="408956" y="523298"/>
                          </a:lnTo>
                          <a:lnTo>
                            <a:pt x="417479" y="505571"/>
                          </a:lnTo>
                          <a:cubicBezTo>
                            <a:pt x="426979" y="491509"/>
                            <a:pt x="440432" y="480337"/>
                            <a:pt x="456243" y="473649"/>
                          </a:cubicBezTo>
                          <a:lnTo>
                            <a:pt x="488887" y="467058"/>
                          </a:lnTo>
                          <a:lnTo>
                            <a:pt x="531395" y="334333"/>
                          </a:lnTo>
                          <a:lnTo>
                            <a:pt x="523487" y="329002"/>
                          </a:lnTo>
                          <a:cubicBezTo>
                            <a:pt x="507543" y="313058"/>
                            <a:pt x="497681" y="291031"/>
                            <a:pt x="497681" y="266701"/>
                          </a:cubicBezTo>
                          <a:lnTo>
                            <a:pt x="501673" y="246929"/>
                          </a:lnTo>
                          <a:lnTo>
                            <a:pt x="384346" y="159653"/>
                          </a:lnTo>
                          <a:lnTo>
                            <a:pt x="370052" y="169290"/>
                          </a:lnTo>
                          <a:cubicBezTo>
                            <a:pt x="359511" y="173749"/>
                            <a:pt x="347922" y="176214"/>
                            <a:pt x="335757" y="176214"/>
                          </a:cubicBezTo>
                          <a:cubicBezTo>
                            <a:pt x="323592" y="176214"/>
                            <a:pt x="312003" y="173749"/>
                            <a:pt x="301462" y="169290"/>
                          </a:cubicBezTo>
                          <a:close/>
                          <a:moveTo>
                            <a:pt x="335757" y="0"/>
                          </a:moveTo>
                          <a:cubicBezTo>
                            <a:pt x="384417" y="0"/>
                            <a:pt x="423864" y="39447"/>
                            <a:pt x="423864" y="88107"/>
                          </a:cubicBezTo>
                          <a:lnTo>
                            <a:pt x="420253" y="105993"/>
                          </a:lnTo>
                          <a:lnTo>
                            <a:pt x="538728" y="194124"/>
                          </a:lnTo>
                          <a:lnTo>
                            <a:pt x="551493" y="185518"/>
                          </a:lnTo>
                          <a:cubicBezTo>
                            <a:pt x="562034" y="181059"/>
                            <a:pt x="573623" y="178594"/>
                            <a:pt x="585788" y="178594"/>
                          </a:cubicBezTo>
                          <a:cubicBezTo>
                            <a:pt x="634448" y="178594"/>
                            <a:pt x="673895" y="218041"/>
                            <a:pt x="673895" y="266701"/>
                          </a:cubicBezTo>
                          <a:cubicBezTo>
                            <a:pt x="673895" y="303196"/>
                            <a:pt x="651706" y="334509"/>
                            <a:pt x="620083" y="347884"/>
                          </a:cubicBezTo>
                          <a:lnTo>
                            <a:pt x="593016" y="353349"/>
                          </a:lnTo>
                          <a:lnTo>
                            <a:pt x="549222" y="490092"/>
                          </a:lnTo>
                          <a:lnTo>
                            <a:pt x="552839" y="492531"/>
                          </a:lnTo>
                          <a:cubicBezTo>
                            <a:pt x="568783" y="508475"/>
                            <a:pt x="578645" y="530502"/>
                            <a:pt x="578645" y="554832"/>
                          </a:cubicBezTo>
                          <a:cubicBezTo>
                            <a:pt x="578645" y="603492"/>
                            <a:pt x="539198" y="642939"/>
                            <a:pt x="490538" y="642939"/>
                          </a:cubicBezTo>
                          <a:cubicBezTo>
                            <a:pt x="454043" y="642939"/>
                            <a:pt x="422731" y="620750"/>
                            <a:pt x="409355" y="589127"/>
                          </a:cubicBezTo>
                          <a:lnTo>
                            <a:pt x="409084" y="587783"/>
                          </a:lnTo>
                          <a:lnTo>
                            <a:pt x="268154" y="587783"/>
                          </a:lnTo>
                          <a:lnTo>
                            <a:pt x="266921" y="593890"/>
                          </a:lnTo>
                          <a:cubicBezTo>
                            <a:pt x="253546" y="625513"/>
                            <a:pt x="222233" y="647702"/>
                            <a:pt x="185738" y="647702"/>
                          </a:cubicBezTo>
                          <a:cubicBezTo>
                            <a:pt x="137078" y="647702"/>
                            <a:pt x="97631" y="608255"/>
                            <a:pt x="97631" y="559595"/>
                          </a:cubicBezTo>
                          <a:cubicBezTo>
                            <a:pt x="97631" y="535265"/>
                            <a:pt x="107493" y="513238"/>
                            <a:pt x="123437" y="497294"/>
                          </a:cubicBezTo>
                          <a:lnTo>
                            <a:pt x="130921" y="492248"/>
                          </a:lnTo>
                          <a:lnTo>
                            <a:pt x="86036" y="356771"/>
                          </a:lnTo>
                          <a:lnTo>
                            <a:pt x="53812" y="350265"/>
                          </a:lnTo>
                          <a:cubicBezTo>
                            <a:pt x="22189" y="336890"/>
                            <a:pt x="0" y="305577"/>
                            <a:pt x="0" y="269082"/>
                          </a:cubicBezTo>
                          <a:cubicBezTo>
                            <a:pt x="0" y="220422"/>
                            <a:pt x="39447" y="180975"/>
                            <a:pt x="88107" y="180975"/>
                          </a:cubicBezTo>
                          <a:cubicBezTo>
                            <a:pt x="100272" y="180975"/>
                            <a:pt x="111861" y="183440"/>
                            <a:pt x="122402" y="187899"/>
                          </a:cubicBezTo>
                          <a:lnTo>
                            <a:pt x="129378" y="192602"/>
                          </a:lnTo>
                          <a:lnTo>
                            <a:pt x="250718" y="103300"/>
                          </a:lnTo>
                          <a:lnTo>
                            <a:pt x="247650" y="88107"/>
                          </a:lnTo>
                          <a:cubicBezTo>
                            <a:pt x="247650" y="39447"/>
                            <a:pt x="287097" y="0"/>
                            <a:pt x="335757" y="0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9525" cap="flat" cmpd="sng" algn="ctr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lIns="182880" tIns="146304" rIns="182880" bIns="146304"/>
                    <a:lstStyle/>
                    <a:p>
                      <a:pPr marL="0" marR="0" lvl="0" indent="0" algn="ctr" defTabSz="914102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961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Segoe UI Light"/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</p:grpSp>
            </p:grpSp>
            <p:grpSp>
              <p:nvGrpSpPr>
                <p:cNvPr id="350" name="Group 349"/>
                <p:cNvGrpSpPr/>
                <p:nvPr/>
              </p:nvGrpSpPr>
              <p:grpSpPr>
                <a:xfrm>
                  <a:off x="8203323" y="543029"/>
                  <a:ext cx="2250927" cy="1371600"/>
                  <a:chOff x="8203323" y="650979"/>
                  <a:chExt cx="2250927" cy="1371600"/>
                </a:xfrm>
              </p:grpSpPr>
              <p:sp>
                <p:nvSpPr>
                  <p:cNvPr id="351" name="Rectangle 350"/>
                  <p:cNvSpPr/>
                  <p:nvPr/>
                </p:nvSpPr>
                <p:spPr bwMode="auto">
                  <a:xfrm>
                    <a:off x="8203323" y="650979"/>
                    <a:ext cx="2250927" cy="1371600"/>
                  </a:xfrm>
                  <a:prstGeom prst="rect">
                    <a:avLst/>
                  </a:prstGeom>
                  <a:solidFill>
                    <a:srgbClr val="0072C6"/>
                  </a:solidFill>
                  <a:ln w="6350" cap="flat" cmpd="sng" algn="ctr">
                    <a:noFill/>
                    <a:prstDash val="solid"/>
                    <a:miter lim="800000"/>
                    <a:headEnd type="none" w="med" len="med"/>
                    <a:tailEnd type="none" w="med" len="med"/>
                  </a:ln>
                  <a:effectLst/>
                </p:spPr>
                <p:txBody>
                  <a:bodyPr lIns="179285" tIns="143428" rIns="179285" bIns="143428"/>
                  <a:lstStyle/>
                  <a:p>
                    <a:pPr marL="0" marR="0" lvl="0" indent="0" algn="ctr" defTabSz="895923" eaLnBrk="1" fontAlgn="base" latinLnBrk="0" hangingPunct="1">
                      <a:lnSpc>
                        <a:spcPct val="9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176" b="0" i="0" u="none" strike="noStrike" kern="0" cap="none" spc="0" normalizeH="0" baseline="0" noProof="0" dirty="0">
                        <a:ln>
                          <a:noFill/>
                        </a:ln>
                        <a:gradFill>
                          <a:gsLst>
                            <a:gs pos="76250">
                              <a:srgbClr val="FFFFFF"/>
                            </a:gs>
                            <a:gs pos="31000">
                              <a:srgbClr val="FFFFFF"/>
                            </a:gs>
                          </a:gsLst>
                          <a:lin ang="5400000" scaled="0"/>
                        </a:gradFill>
                        <a:effectLst/>
                        <a:uLnTx/>
                        <a:uFillTx/>
                        <a:latin typeface="Segoe UI Semibold" panose="020B0702040204020203" pitchFamily="34" charset="0"/>
                        <a:ea typeface="Segoe UI" pitchFamily="34" charset="0"/>
                        <a:cs typeface="Segoe UI Semibold" panose="020B0702040204020203" pitchFamily="34" charset="0"/>
                      </a:rPr>
                      <a:t>Developer services</a:t>
                    </a:r>
                  </a:p>
                </p:txBody>
              </p:sp>
              <p:grpSp>
                <p:nvGrpSpPr>
                  <p:cNvPr id="352" name="Group 351"/>
                  <p:cNvGrpSpPr/>
                  <p:nvPr/>
                </p:nvGrpSpPr>
                <p:grpSpPr>
                  <a:xfrm>
                    <a:off x="8316462" y="1050815"/>
                    <a:ext cx="1048050" cy="290595"/>
                    <a:chOff x="8316462" y="1050815"/>
                    <a:chExt cx="1048050" cy="290595"/>
                  </a:xfrm>
                </p:grpSpPr>
                <p:sp>
                  <p:nvSpPr>
                    <p:cNvPr id="362" name="TextBox 361"/>
                    <p:cNvSpPr txBox="1"/>
                    <p:nvPr/>
                  </p:nvSpPr>
                  <p:spPr bwMode="auto">
                    <a:xfrm>
                      <a:off x="8694587" y="1065786"/>
                      <a:ext cx="669925" cy="250825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txBody>
                    <a:bodyPr wrap="none" lIns="0" tIns="27971" rIns="0" bIns="0" anchor="ctr" anchorCtr="0"/>
                    <a:lstStyle>
                      <a:defPPr>
                        <a:defRPr lang="en-US"/>
                      </a:defPPr>
                      <a:lvl1pPr defTabSz="932317">
                        <a:lnSpc>
                          <a:spcPct val="90000"/>
                        </a:lnSpc>
                        <a:spcBef>
                          <a:spcPts val="600"/>
                        </a:spcBef>
                        <a:defRPr sz="1000">
                          <a:gradFill>
                            <a:gsLst>
                              <a:gs pos="76250">
                                <a:schemeClr val="bg1"/>
                              </a:gs>
                              <a:gs pos="31000">
                                <a:schemeClr val="bg1"/>
                              </a:gs>
                            </a:gsLst>
                            <a:lin ang="5400000" scaled="0"/>
                          </a:gradFill>
                          <a:latin typeface="+mn-lt"/>
                          <a:ea typeface="Arial Unicode MS" panose="020B0604020202020204" pitchFamily="34" charset="-128"/>
                          <a:cs typeface="Segoe UI Light" panose="020B0502040204020203" pitchFamily="34" charset="0"/>
                        </a:defRPr>
                      </a:lvl1pPr>
                    </a:lstStyle>
                    <a:p>
                      <a:pPr marL="0" marR="0" lvl="0" indent="0" defTabSz="913950" eaLnBrk="0" fontAlgn="base" latinLnBrk="0" hangingPunct="0">
                        <a:lnSpc>
                          <a:spcPct val="90000"/>
                        </a:lnSpc>
                        <a:spcBef>
                          <a:spcPts val="588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80" b="0" i="0" u="none" strike="noStrike" kern="0" cap="none" spc="0" normalizeH="0" baseline="0" noProof="0" dirty="0">
                          <a:ln>
                            <a:noFill/>
                          </a:ln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Arial Unicode MS" panose="020B0604020202020204" pitchFamily="34" charset="-128"/>
                          <a:cs typeface="Segoe UI Light" panose="020B0502040204020203" pitchFamily="34" charset="0"/>
                        </a:rPr>
                        <a:t>Visual </a:t>
                      </a:r>
                      <a:br>
                        <a:rPr kumimoji="0" lang="en-US" sz="980" b="0" i="0" u="none" strike="noStrike" kern="0" cap="none" spc="0" normalizeH="0" baseline="0" noProof="0" dirty="0">
                          <a:ln>
                            <a:noFill/>
                          </a:ln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Arial Unicode MS" panose="020B0604020202020204" pitchFamily="34" charset="-128"/>
                          <a:cs typeface="Segoe UI Light" panose="020B0502040204020203" pitchFamily="34" charset="0"/>
                        </a:rPr>
                      </a:br>
                      <a:r>
                        <a:rPr kumimoji="0" lang="en-US" sz="980" b="0" i="0" u="none" strike="noStrike" kern="0" cap="none" spc="0" normalizeH="0" baseline="0" noProof="0" dirty="0">
                          <a:ln>
                            <a:noFill/>
                          </a:ln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Arial Unicode MS" panose="020B0604020202020204" pitchFamily="34" charset="-128"/>
                          <a:cs typeface="Segoe UI Light" panose="020B0502040204020203" pitchFamily="34" charset="0"/>
                        </a:rPr>
                        <a:t>Studio</a:t>
                      </a:r>
                    </a:p>
                  </p:txBody>
                </p:sp>
                <p:pic>
                  <p:nvPicPr>
                    <p:cNvPr id="363" name="Picture 167" descr="Visual Studio Online.png"/>
                    <p:cNvPicPr>
                      <a:picLocks noChangeAspect="1"/>
                    </p:cNvPicPr>
                    <p:nvPr/>
                  </p:nvPicPr>
                  <p:blipFill>
                    <a:blip r:embed="rId37" cstate="print">
                      <a:biLevel thresh="25000"/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rcRect/>
                    <a:stretch>
                      <a:fillRect/>
                    </a:stretch>
                  </p:blipFill>
                  <p:spPr bwMode="auto">
                    <a:xfrm>
                      <a:off x="8316462" y="1050815"/>
                      <a:ext cx="290580" cy="290595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</p:pic>
              </p:grpSp>
              <p:grpSp>
                <p:nvGrpSpPr>
                  <p:cNvPr id="353" name="Group 352"/>
                  <p:cNvGrpSpPr/>
                  <p:nvPr/>
                </p:nvGrpSpPr>
                <p:grpSpPr>
                  <a:xfrm>
                    <a:off x="9413978" y="1606382"/>
                    <a:ext cx="957567" cy="312845"/>
                    <a:chOff x="9413978" y="1606382"/>
                    <a:chExt cx="957567" cy="312845"/>
                  </a:xfrm>
                </p:grpSpPr>
                <p:sp>
                  <p:nvSpPr>
                    <p:cNvPr id="360" name="TextBox 359"/>
                    <p:cNvSpPr txBox="1"/>
                    <p:nvPr/>
                  </p:nvSpPr>
                  <p:spPr bwMode="auto">
                    <a:xfrm>
                      <a:off x="9712733" y="1617602"/>
                      <a:ext cx="658812" cy="301625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txBody>
                    <a:bodyPr wrap="none" lIns="0" tIns="27971" rIns="0" bIns="0" anchor="ctr" anchorCtr="0"/>
                    <a:lstStyle>
                      <a:defPPr>
                        <a:defRPr lang="en-US"/>
                      </a:defPPr>
                      <a:lvl1pPr defTabSz="932317">
                        <a:lnSpc>
                          <a:spcPct val="90000"/>
                        </a:lnSpc>
                        <a:spcBef>
                          <a:spcPts val="600"/>
                        </a:spcBef>
                        <a:defRPr sz="1000">
                          <a:gradFill>
                            <a:gsLst>
                              <a:gs pos="76250">
                                <a:schemeClr val="bg1"/>
                              </a:gs>
                              <a:gs pos="31000">
                                <a:schemeClr val="bg1"/>
                              </a:gs>
                            </a:gsLst>
                            <a:lin ang="5400000" scaled="0"/>
                          </a:gradFill>
                          <a:latin typeface="+mn-lt"/>
                          <a:ea typeface="Arial Unicode MS" panose="020B0604020202020204" pitchFamily="34" charset="-128"/>
                          <a:cs typeface="Segoe UI Light" panose="020B0502040204020203" pitchFamily="34" charset="0"/>
                        </a:defRPr>
                      </a:lvl1pPr>
                    </a:lstStyle>
                    <a:p>
                      <a:pPr marL="0" marR="0" lvl="0" indent="0" defTabSz="913950" eaLnBrk="0" fontAlgn="base" latinLnBrk="0" hangingPunct="0">
                        <a:lnSpc>
                          <a:spcPct val="90000"/>
                        </a:lnSpc>
                        <a:spcBef>
                          <a:spcPts val="588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80" b="0" i="0" u="none" strike="noStrike" kern="0" cap="none" spc="0" normalizeH="0" baseline="0" noProof="0" dirty="0">
                          <a:ln>
                            <a:noFill/>
                          </a:ln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Arial Unicode MS" panose="020B0604020202020204" pitchFamily="34" charset="-128"/>
                          <a:cs typeface="Segoe UI Light" panose="020B0502040204020203" pitchFamily="34" charset="0"/>
                        </a:rPr>
                        <a:t>Application</a:t>
                      </a:r>
                      <a:br>
                        <a:rPr kumimoji="0" lang="en-US" sz="980" b="0" i="0" u="none" strike="noStrike" kern="0" cap="none" spc="0" normalizeH="0" baseline="0" noProof="0" dirty="0">
                          <a:ln>
                            <a:noFill/>
                          </a:ln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Arial Unicode MS" panose="020B0604020202020204" pitchFamily="34" charset="-128"/>
                          <a:cs typeface="Segoe UI Light" panose="020B0502040204020203" pitchFamily="34" charset="0"/>
                        </a:rPr>
                      </a:br>
                      <a:r>
                        <a:rPr kumimoji="0" lang="en-US" sz="980" b="0" i="0" u="none" strike="noStrike" kern="0" cap="none" spc="0" normalizeH="0" baseline="0" noProof="0" dirty="0">
                          <a:ln>
                            <a:noFill/>
                          </a:ln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Arial Unicode MS" panose="020B0604020202020204" pitchFamily="34" charset="-128"/>
                          <a:cs typeface="Segoe UI Light" panose="020B0502040204020203" pitchFamily="34" charset="0"/>
                        </a:rPr>
                        <a:t>Insights</a:t>
                      </a:r>
                    </a:p>
                  </p:txBody>
                </p:sp>
                <p:pic>
                  <p:nvPicPr>
                    <p:cNvPr id="361" name="Picture 169" descr="Application Insights.png"/>
                    <p:cNvPicPr>
                      <a:picLocks noChangeAspect="1"/>
                    </p:cNvPicPr>
                    <p:nvPr/>
                  </p:nvPicPr>
                  <p:blipFill>
                    <a:blip r:embed="rId38" cstate="print">
                      <a:biLevel thresh="25000"/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rcRect/>
                    <a:stretch>
                      <a:fillRect/>
                    </a:stretch>
                  </p:blipFill>
                  <p:spPr bwMode="auto">
                    <a:xfrm>
                      <a:off x="9413978" y="1606382"/>
                      <a:ext cx="292365" cy="292381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</p:pic>
              </p:grpSp>
              <p:grpSp>
                <p:nvGrpSpPr>
                  <p:cNvPr id="354" name="Group 353"/>
                  <p:cNvGrpSpPr/>
                  <p:nvPr/>
                </p:nvGrpSpPr>
                <p:grpSpPr>
                  <a:xfrm>
                    <a:off x="9408787" y="1025699"/>
                    <a:ext cx="875200" cy="302765"/>
                    <a:chOff x="9408787" y="1025699"/>
                    <a:chExt cx="875200" cy="302765"/>
                  </a:xfrm>
                </p:grpSpPr>
                <p:pic>
                  <p:nvPicPr>
                    <p:cNvPr id="358" name="Picture 272"/>
                    <p:cNvPicPr>
                      <a:picLocks noChangeAspect="1"/>
                    </p:cNvPicPr>
                    <p:nvPr/>
                  </p:nvPicPr>
                  <p:blipFill>
                    <a:blip r:embed="rId39" cstate="print">
                      <a:biLevel thresh="25000"/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rcRect/>
                    <a:stretch>
                      <a:fillRect/>
                    </a:stretch>
                  </p:blipFill>
                  <p:spPr bwMode="auto">
                    <a:xfrm>
                      <a:off x="9408787" y="1025699"/>
                      <a:ext cx="302749" cy="302765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</p:pic>
                <p:sp>
                  <p:nvSpPr>
                    <p:cNvPr id="359" name="TextBox 358"/>
                    <p:cNvSpPr txBox="1"/>
                    <p:nvPr/>
                  </p:nvSpPr>
                  <p:spPr bwMode="auto">
                    <a:xfrm>
                      <a:off x="9742651" y="1059753"/>
                      <a:ext cx="541336" cy="249238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txBody>
                    <a:bodyPr wrap="none" lIns="0" tIns="27971" rIns="0" bIns="0" anchor="ctr" anchorCtr="0"/>
                    <a:lstStyle>
                      <a:defPPr>
                        <a:defRPr lang="en-US"/>
                      </a:defPPr>
                      <a:lvl1pPr defTabSz="932317">
                        <a:lnSpc>
                          <a:spcPct val="90000"/>
                        </a:lnSpc>
                        <a:spcBef>
                          <a:spcPts val="600"/>
                        </a:spcBef>
                        <a:defRPr sz="1000">
                          <a:gradFill>
                            <a:gsLst>
                              <a:gs pos="76250">
                                <a:schemeClr val="bg1"/>
                              </a:gs>
                              <a:gs pos="31000">
                                <a:schemeClr val="bg1"/>
                              </a:gs>
                            </a:gsLst>
                            <a:lin ang="5400000" scaled="0"/>
                          </a:gradFill>
                          <a:latin typeface="+mn-lt"/>
                          <a:ea typeface="Arial Unicode MS" panose="020B0604020202020204" pitchFamily="34" charset="-128"/>
                          <a:cs typeface="Segoe UI Light" panose="020B0502040204020203" pitchFamily="34" charset="0"/>
                        </a:defRPr>
                      </a:lvl1pPr>
                    </a:lstStyle>
                    <a:p>
                      <a:pPr marL="0" marR="0" lvl="0" indent="0" defTabSz="913950" eaLnBrk="0" fontAlgn="base" latinLnBrk="0" hangingPunct="0">
                        <a:lnSpc>
                          <a:spcPct val="90000"/>
                        </a:lnSpc>
                        <a:spcBef>
                          <a:spcPts val="588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80" b="0" i="0" u="none" strike="noStrike" kern="0" cap="none" spc="0" normalizeH="0" baseline="0" noProof="0" dirty="0">
                          <a:ln>
                            <a:noFill/>
                          </a:ln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Arial Unicode MS" panose="020B0604020202020204" pitchFamily="34" charset="-128"/>
                          <a:cs typeface="Segoe UI Light" panose="020B0502040204020203" pitchFamily="34" charset="0"/>
                        </a:rPr>
                        <a:t>Azure SDK</a:t>
                      </a:r>
                    </a:p>
                  </p:txBody>
                </p:sp>
              </p:grpSp>
              <p:grpSp>
                <p:nvGrpSpPr>
                  <p:cNvPr id="355" name="Group 354"/>
                  <p:cNvGrpSpPr/>
                  <p:nvPr/>
                </p:nvGrpSpPr>
                <p:grpSpPr>
                  <a:xfrm>
                    <a:off x="8316496" y="1621631"/>
                    <a:ext cx="1048016" cy="280129"/>
                    <a:chOff x="8316496" y="1621631"/>
                    <a:chExt cx="1048016" cy="280129"/>
                  </a:xfrm>
                </p:grpSpPr>
                <p:sp>
                  <p:nvSpPr>
                    <p:cNvPr id="356" name="TextBox 355"/>
                    <p:cNvSpPr txBox="1"/>
                    <p:nvPr/>
                  </p:nvSpPr>
                  <p:spPr bwMode="auto">
                    <a:xfrm>
                      <a:off x="8704112" y="1650936"/>
                      <a:ext cx="660400" cy="250824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txBody>
                    <a:bodyPr wrap="none" lIns="0" tIns="27971" rIns="0" bIns="0" anchor="ctr" anchorCtr="0"/>
                    <a:lstStyle>
                      <a:defPPr>
                        <a:defRPr lang="en-US"/>
                      </a:defPPr>
                      <a:lvl1pPr defTabSz="932317">
                        <a:lnSpc>
                          <a:spcPct val="90000"/>
                        </a:lnSpc>
                        <a:spcBef>
                          <a:spcPts val="600"/>
                        </a:spcBef>
                        <a:defRPr sz="1000">
                          <a:gradFill>
                            <a:gsLst>
                              <a:gs pos="76250">
                                <a:schemeClr val="bg1"/>
                              </a:gs>
                              <a:gs pos="31000">
                                <a:schemeClr val="bg1"/>
                              </a:gs>
                            </a:gsLst>
                            <a:lin ang="5400000" scaled="0"/>
                          </a:gradFill>
                          <a:latin typeface="+mn-lt"/>
                          <a:ea typeface="Arial Unicode MS" panose="020B0604020202020204" pitchFamily="34" charset="-128"/>
                          <a:cs typeface="Segoe UI Light" panose="020B0502040204020203" pitchFamily="34" charset="0"/>
                        </a:defRPr>
                      </a:lvl1pPr>
                    </a:lstStyle>
                    <a:p>
                      <a:pPr marL="0" marR="0" lvl="0" indent="0" defTabSz="913950" eaLnBrk="0" fontAlgn="base" latinLnBrk="0" hangingPunct="0">
                        <a:lnSpc>
                          <a:spcPct val="90000"/>
                        </a:lnSpc>
                        <a:spcBef>
                          <a:spcPts val="588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80" b="0" i="0" u="none" strike="noStrike" kern="0" cap="none" spc="0" normalizeH="0" baseline="0" noProof="0" dirty="0">
                          <a:ln>
                            <a:noFill/>
                          </a:ln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Arial Unicode MS" panose="020B0604020202020204" pitchFamily="34" charset="-128"/>
                          <a:cs typeface="Segoe UI Light" panose="020B0502040204020203" pitchFamily="34" charset="0"/>
                        </a:rPr>
                        <a:t>Team </a:t>
                      </a:r>
                      <a:br>
                        <a:rPr kumimoji="0" lang="en-US" sz="980" b="0" i="0" u="none" strike="noStrike" kern="0" cap="none" spc="0" normalizeH="0" baseline="0" noProof="0" dirty="0">
                          <a:ln>
                            <a:noFill/>
                          </a:ln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Arial Unicode MS" panose="020B0604020202020204" pitchFamily="34" charset="-128"/>
                          <a:cs typeface="Segoe UI Light" panose="020B0502040204020203" pitchFamily="34" charset="0"/>
                        </a:rPr>
                      </a:br>
                      <a:r>
                        <a:rPr kumimoji="0" lang="en-US" sz="980" b="0" i="0" u="none" strike="noStrike" kern="0" cap="none" spc="0" normalizeH="0" baseline="0" noProof="0" dirty="0">
                          <a:ln>
                            <a:noFill/>
                          </a:ln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Arial Unicode MS" panose="020B0604020202020204" pitchFamily="34" charset="-128"/>
                          <a:cs typeface="Segoe UI Light" panose="020B0502040204020203" pitchFamily="34" charset="0"/>
                        </a:rPr>
                        <a:t>Project</a:t>
                      </a:r>
                    </a:p>
                  </p:txBody>
                </p:sp>
                <p:sp>
                  <p:nvSpPr>
                    <p:cNvPr id="357" name="Freeform 356"/>
                    <p:cNvSpPr/>
                    <p:nvPr/>
                  </p:nvSpPr>
                  <p:spPr bwMode="auto">
                    <a:xfrm>
                      <a:off x="8316496" y="1621631"/>
                      <a:ext cx="290512" cy="249237"/>
                    </a:xfrm>
                    <a:custGeom>
                      <a:avLst/>
                      <a:gdLst>
                        <a:gd name="connsiteX0" fmla="*/ 20235 w 769143"/>
                        <a:gd name="connsiteY0" fmla="*/ 443405 h 659607"/>
                        <a:gd name="connsiteX1" fmla="*/ 84659 w 769143"/>
                        <a:gd name="connsiteY1" fmla="*/ 443405 h 659607"/>
                        <a:gd name="connsiteX2" fmla="*/ 133712 w 769143"/>
                        <a:gd name="connsiteY2" fmla="*/ 527981 h 659607"/>
                        <a:gd name="connsiteX3" fmla="*/ 182766 w 769143"/>
                        <a:gd name="connsiteY3" fmla="*/ 443405 h 659607"/>
                        <a:gd name="connsiteX4" fmla="*/ 251228 w 769143"/>
                        <a:gd name="connsiteY4" fmla="*/ 443405 h 659607"/>
                        <a:gd name="connsiteX5" fmla="*/ 271462 w 769143"/>
                        <a:gd name="connsiteY5" fmla="*/ 463640 h 659607"/>
                        <a:gd name="connsiteX6" fmla="*/ 271462 w 769143"/>
                        <a:gd name="connsiteY6" fmla="*/ 634610 h 659607"/>
                        <a:gd name="connsiteX7" fmla="*/ 251228 w 769143"/>
                        <a:gd name="connsiteY7" fmla="*/ 654845 h 659607"/>
                        <a:gd name="connsiteX8" fmla="*/ 20235 w 769143"/>
                        <a:gd name="connsiteY8" fmla="*/ 654845 h 659607"/>
                        <a:gd name="connsiteX9" fmla="*/ 0 w 769143"/>
                        <a:gd name="connsiteY9" fmla="*/ 634610 h 659607"/>
                        <a:gd name="connsiteX10" fmla="*/ 0 w 769143"/>
                        <a:gd name="connsiteY10" fmla="*/ 463640 h 659607"/>
                        <a:gd name="connsiteX11" fmla="*/ 20235 w 769143"/>
                        <a:gd name="connsiteY11" fmla="*/ 443405 h 659607"/>
                        <a:gd name="connsiteX12" fmla="*/ 330596 w 769143"/>
                        <a:gd name="connsiteY12" fmla="*/ 290513 h 659607"/>
                        <a:gd name="connsiteX13" fmla="*/ 443055 w 769143"/>
                        <a:gd name="connsiteY13" fmla="*/ 290513 h 659607"/>
                        <a:gd name="connsiteX14" fmla="*/ 528684 w 769143"/>
                        <a:gd name="connsiteY14" fmla="*/ 438150 h 659607"/>
                        <a:gd name="connsiteX15" fmla="*/ 614314 w 769143"/>
                        <a:gd name="connsiteY15" fmla="*/ 290513 h 659607"/>
                        <a:gd name="connsiteX16" fmla="*/ 733821 w 769143"/>
                        <a:gd name="connsiteY16" fmla="*/ 290513 h 659607"/>
                        <a:gd name="connsiteX17" fmla="*/ 769143 w 769143"/>
                        <a:gd name="connsiteY17" fmla="*/ 325835 h 659607"/>
                        <a:gd name="connsiteX18" fmla="*/ 769143 w 769143"/>
                        <a:gd name="connsiteY18" fmla="*/ 624285 h 659607"/>
                        <a:gd name="connsiteX19" fmla="*/ 733821 w 769143"/>
                        <a:gd name="connsiteY19" fmla="*/ 659607 h 659607"/>
                        <a:gd name="connsiteX20" fmla="*/ 330596 w 769143"/>
                        <a:gd name="connsiteY20" fmla="*/ 659607 h 659607"/>
                        <a:gd name="connsiteX21" fmla="*/ 295274 w 769143"/>
                        <a:gd name="connsiteY21" fmla="*/ 624285 h 659607"/>
                        <a:gd name="connsiteX22" fmla="*/ 295274 w 769143"/>
                        <a:gd name="connsiteY22" fmla="*/ 325835 h 659607"/>
                        <a:gd name="connsiteX23" fmla="*/ 330596 w 769143"/>
                        <a:gd name="connsiteY23" fmla="*/ 290513 h 659607"/>
                        <a:gd name="connsiteX24" fmla="*/ 134367 w 769143"/>
                        <a:gd name="connsiteY24" fmla="*/ 276981 h 659607"/>
                        <a:gd name="connsiteX25" fmla="*/ 211441 w 769143"/>
                        <a:gd name="connsiteY25" fmla="*/ 354055 h 659607"/>
                        <a:gd name="connsiteX26" fmla="*/ 134367 w 769143"/>
                        <a:gd name="connsiteY26" fmla="*/ 431128 h 659607"/>
                        <a:gd name="connsiteX27" fmla="*/ 57293 w 769143"/>
                        <a:gd name="connsiteY27" fmla="*/ 354055 h 659607"/>
                        <a:gd name="connsiteX28" fmla="*/ 134367 w 769143"/>
                        <a:gd name="connsiteY28" fmla="*/ 276981 h 659607"/>
                        <a:gd name="connsiteX29" fmla="*/ 529827 w 769143"/>
                        <a:gd name="connsiteY29" fmla="*/ 0 h 659607"/>
                        <a:gd name="connsiteX30" fmla="*/ 664368 w 769143"/>
                        <a:gd name="connsiteY30" fmla="*/ 134541 h 659607"/>
                        <a:gd name="connsiteX31" fmla="*/ 529827 w 769143"/>
                        <a:gd name="connsiteY31" fmla="*/ 269082 h 659607"/>
                        <a:gd name="connsiteX32" fmla="*/ 395286 w 769143"/>
                        <a:gd name="connsiteY32" fmla="*/ 134541 h 659607"/>
                        <a:gd name="connsiteX33" fmla="*/ 529827 w 769143"/>
                        <a:gd name="connsiteY33" fmla="*/ 0 h 65960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</a:cxnLst>
                      <a:rect l="l" t="t" r="r" b="b"/>
                      <a:pathLst>
                        <a:path w="769143" h="659607">
                          <a:moveTo>
                            <a:pt x="20235" y="443405"/>
                          </a:moveTo>
                          <a:lnTo>
                            <a:pt x="84659" y="443405"/>
                          </a:lnTo>
                          <a:lnTo>
                            <a:pt x="133712" y="527981"/>
                          </a:lnTo>
                          <a:lnTo>
                            <a:pt x="182766" y="443405"/>
                          </a:lnTo>
                          <a:lnTo>
                            <a:pt x="251228" y="443405"/>
                          </a:lnTo>
                          <a:cubicBezTo>
                            <a:pt x="262403" y="443405"/>
                            <a:pt x="271462" y="452464"/>
                            <a:pt x="271462" y="463640"/>
                          </a:cubicBezTo>
                          <a:lnTo>
                            <a:pt x="271462" y="634610"/>
                          </a:lnTo>
                          <a:cubicBezTo>
                            <a:pt x="271462" y="645786"/>
                            <a:pt x="262403" y="654845"/>
                            <a:pt x="251228" y="654845"/>
                          </a:cubicBezTo>
                          <a:lnTo>
                            <a:pt x="20235" y="654845"/>
                          </a:lnTo>
                          <a:cubicBezTo>
                            <a:pt x="9060" y="654845"/>
                            <a:pt x="0" y="645786"/>
                            <a:pt x="0" y="634610"/>
                          </a:cubicBezTo>
                          <a:lnTo>
                            <a:pt x="0" y="463640"/>
                          </a:lnTo>
                          <a:cubicBezTo>
                            <a:pt x="0" y="452464"/>
                            <a:pt x="9060" y="443405"/>
                            <a:pt x="20235" y="443405"/>
                          </a:cubicBezTo>
                          <a:close/>
                          <a:moveTo>
                            <a:pt x="330596" y="290513"/>
                          </a:moveTo>
                          <a:lnTo>
                            <a:pt x="443055" y="290513"/>
                          </a:lnTo>
                          <a:lnTo>
                            <a:pt x="528684" y="438150"/>
                          </a:lnTo>
                          <a:lnTo>
                            <a:pt x="614314" y="290513"/>
                          </a:lnTo>
                          <a:lnTo>
                            <a:pt x="733821" y="290513"/>
                          </a:lnTo>
                          <a:cubicBezTo>
                            <a:pt x="753329" y="290513"/>
                            <a:pt x="769143" y="306327"/>
                            <a:pt x="769143" y="325835"/>
                          </a:cubicBezTo>
                          <a:lnTo>
                            <a:pt x="769143" y="624285"/>
                          </a:lnTo>
                          <a:cubicBezTo>
                            <a:pt x="769143" y="643793"/>
                            <a:pt x="753329" y="659607"/>
                            <a:pt x="733821" y="659607"/>
                          </a:cubicBezTo>
                          <a:lnTo>
                            <a:pt x="330596" y="659607"/>
                          </a:lnTo>
                          <a:cubicBezTo>
                            <a:pt x="311088" y="659607"/>
                            <a:pt x="295274" y="643793"/>
                            <a:pt x="295274" y="624285"/>
                          </a:cubicBezTo>
                          <a:lnTo>
                            <a:pt x="295274" y="325835"/>
                          </a:lnTo>
                          <a:cubicBezTo>
                            <a:pt x="295274" y="306327"/>
                            <a:pt x="311088" y="290513"/>
                            <a:pt x="330596" y="290513"/>
                          </a:cubicBezTo>
                          <a:close/>
                          <a:moveTo>
                            <a:pt x="134367" y="276981"/>
                          </a:moveTo>
                          <a:cubicBezTo>
                            <a:pt x="176934" y="276981"/>
                            <a:pt x="211441" y="311488"/>
                            <a:pt x="211441" y="354055"/>
                          </a:cubicBezTo>
                          <a:cubicBezTo>
                            <a:pt x="211441" y="396621"/>
                            <a:pt x="176934" y="431128"/>
                            <a:pt x="134367" y="431128"/>
                          </a:cubicBezTo>
                          <a:cubicBezTo>
                            <a:pt x="91800" y="431128"/>
                            <a:pt x="57293" y="396621"/>
                            <a:pt x="57293" y="354055"/>
                          </a:cubicBezTo>
                          <a:cubicBezTo>
                            <a:pt x="57293" y="311488"/>
                            <a:pt x="91800" y="276981"/>
                            <a:pt x="134367" y="276981"/>
                          </a:cubicBezTo>
                          <a:close/>
                          <a:moveTo>
                            <a:pt x="529827" y="0"/>
                          </a:moveTo>
                          <a:cubicBezTo>
                            <a:pt x="604132" y="0"/>
                            <a:pt x="664368" y="60236"/>
                            <a:pt x="664368" y="134541"/>
                          </a:cubicBezTo>
                          <a:cubicBezTo>
                            <a:pt x="664368" y="208846"/>
                            <a:pt x="604132" y="269082"/>
                            <a:pt x="529827" y="269082"/>
                          </a:cubicBezTo>
                          <a:cubicBezTo>
                            <a:pt x="455522" y="269082"/>
                            <a:pt x="395286" y="208846"/>
                            <a:pt x="395286" y="134541"/>
                          </a:cubicBezTo>
                          <a:cubicBezTo>
                            <a:pt x="395286" y="60236"/>
                            <a:pt x="455522" y="0"/>
                            <a:pt x="529827" y="0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9525" cap="flat" cmpd="sng" algn="ctr">
                      <a:noFill/>
                      <a:prstDash val="solid"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lIns="182880" tIns="146304" rIns="182880" bIns="146304"/>
                    <a:lstStyle/>
                    <a:p>
                      <a:pPr marL="0" marR="0" lvl="0" indent="0" algn="ctr" defTabSz="914102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961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Segoe UI Light"/>
                        <a:ea typeface="Segoe UI" pitchFamily="34" charset="0"/>
                        <a:cs typeface="Segoe UI" pitchFamily="34" charset="0"/>
                      </a:endParaRPr>
                    </a:p>
                  </p:txBody>
                </p:sp>
              </p:grpSp>
            </p:grpSp>
          </p:grpSp>
          <p:grpSp>
            <p:nvGrpSpPr>
              <p:cNvPr id="4" name="Group 3"/>
              <p:cNvGrpSpPr/>
              <p:nvPr userDrawn="1"/>
            </p:nvGrpSpPr>
            <p:grpSpPr>
              <a:xfrm>
                <a:off x="249566" y="543029"/>
                <a:ext cx="1720893" cy="3795291"/>
                <a:chOff x="249566" y="543029"/>
                <a:chExt cx="1720893" cy="3795291"/>
              </a:xfrm>
            </p:grpSpPr>
            <p:sp>
              <p:nvSpPr>
                <p:cNvPr id="319" name="Rectangle 318"/>
                <p:cNvSpPr/>
                <p:nvPr/>
              </p:nvSpPr>
              <p:spPr bwMode="auto">
                <a:xfrm>
                  <a:off x="249566" y="543029"/>
                  <a:ext cx="1720893" cy="3795291"/>
                </a:xfrm>
                <a:prstGeom prst="rect">
                  <a:avLst/>
                </a:prstGeom>
                <a:solidFill>
                  <a:srgbClr val="1B3C72"/>
                </a:solidFill>
                <a:ln w="6350" cap="flat" cmpd="sng" algn="ctr">
                  <a:noFill/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  <p:txBody>
                <a:bodyPr lIns="265176" tIns="143428" rIns="179285" bIns="143428"/>
                <a:lstStyle/>
                <a:p>
                  <a:pPr marL="0" marR="0" lvl="0" indent="0" algn="ctr" defTabSz="895923" eaLnBrk="1" fontAlgn="base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372" b="0" i="0" u="none" strike="noStrike" kern="0" cap="none" spc="0" normalizeH="0" baseline="0" noProof="0" dirty="0">
                      <a:ln>
                        <a:noFill/>
                      </a:ln>
                      <a:gradFill>
                        <a:gsLst>
                          <a:gs pos="76250">
                            <a:srgbClr val="FFFFFF"/>
                          </a:gs>
                          <a:gs pos="31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 Semibold" panose="020B0702040204020203" pitchFamily="34" charset="0"/>
                      <a:ea typeface="Segoe UI" pitchFamily="34" charset="0"/>
                      <a:cs typeface="Segoe UI Semibold" panose="020B0702040204020203" pitchFamily="34" charset="0"/>
                    </a:rPr>
                    <a:t>Security and Management</a:t>
                  </a:r>
                </a:p>
              </p:txBody>
            </p:sp>
            <p:grpSp>
              <p:nvGrpSpPr>
                <p:cNvPr id="3" name="Group 2"/>
                <p:cNvGrpSpPr/>
                <p:nvPr/>
              </p:nvGrpSpPr>
              <p:grpSpPr>
                <a:xfrm>
                  <a:off x="365563" y="1115018"/>
                  <a:ext cx="1458716" cy="3120525"/>
                  <a:chOff x="419554" y="1199688"/>
                  <a:chExt cx="1458716" cy="3120525"/>
                </a:xfrm>
              </p:grpSpPr>
              <p:grpSp>
                <p:nvGrpSpPr>
                  <p:cNvPr id="321" name="Group 320"/>
                  <p:cNvGrpSpPr/>
                  <p:nvPr/>
                </p:nvGrpSpPr>
                <p:grpSpPr>
                  <a:xfrm>
                    <a:off x="442574" y="1656149"/>
                    <a:ext cx="1027708" cy="303213"/>
                    <a:chOff x="368069" y="1313314"/>
                    <a:chExt cx="1027708" cy="303213"/>
                  </a:xfrm>
                </p:grpSpPr>
                <p:sp>
                  <p:nvSpPr>
                    <p:cNvPr id="340" name="TextBox 339"/>
                    <p:cNvSpPr txBox="1"/>
                    <p:nvPr/>
                  </p:nvSpPr>
                  <p:spPr bwMode="auto">
                    <a:xfrm>
                      <a:off x="736963" y="1314902"/>
                      <a:ext cx="658814" cy="301625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txBody>
                    <a:bodyPr wrap="none" lIns="0" tIns="27971" rIns="0" bIns="0" anchor="ctr" anchorCtr="0"/>
                    <a:lstStyle>
                      <a:defPPr>
                        <a:defRPr lang="en-US"/>
                      </a:defPPr>
                      <a:lvl1pPr defTabSz="932317">
                        <a:lnSpc>
                          <a:spcPct val="90000"/>
                        </a:lnSpc>
                        <a:spcBef>
                          <a:spcPts val="600"/>
                        </a:spcBef>
                        <a:defRPr sz="1000">
                          <a:gradFill>
                            <a:gsLst>
                              <a:gs pos="76250">
                                <a:schemeClr val="bg1"/>
                              </a:gs>
                              <a:gs pos="31000">
                                <a:schemeClr val="bg1"/>
                              </a:gs>
                            </a:gsLst>
                            <a:lin ang="5400000" scaled="0"/>
                          </a:gradFill>
                          <a:latin typeface="+mn-lt"/>
                          <a:ea typeface="Arial Unicode MS" panose="020B0604020202020204" pitchFamily="34" charset="-128"/>
                          <a:cs typeface="Segoe UI Light" panose="020B0502040204020203" pitchFamily="34" charset="0"/>
                        </a:defRPr>
                      </a:lvl1pPr>
                    </a:lstStyle>
                    <a:p>
                      <a:pPr marL="0" marR="0" lvl="0" indent="0" defTabSz="913950" eaLnBrk="0" fontAlgn="base" latinLnBrk="0" hangingPunct="0">
                        <a:lnSpc>
                          <a:spcPct val="90000"/>
                        </a:lnSpc>
                        <a:spcBef>
                          <a:spcPts val="588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80" b="0" i="0" u="none" strike="noStrike" kern="0" cap="none" spc="0" normalizeH="0" baseline="0" noProof="0" dirty="0">
                          <a:ln>
                            <a:noFill/>
                          </a:ln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Arial Unicode MS" panose="020B0604020202020204" pitchFamily="34" charset="-128"/>
                          <a:cs typeface="Segoe UI Light" panose="020B0502040204020203" pitchFamily="34" charset="0"/>
                        </a:rPr>
                        <a:t>Active</a:t>
                      </a:r>
                      <a:br>
                        <a:rPr kumimoji="0" lang="en-US" sz="980" b="0" i="0" u="none" strike="noStrike" kern="0" cap="none" spc="0" normalizeH="0" baseline="0" noProof="0" dirty="0">
                          <a:ln>
                            <a:noFill/>
                          </a:ln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Arial Unicode MS" panose="020B0604020202020204" pitchFamily="34" charset="-128"/>
                          <a:cs typeface="Segoe UI Light" panose="020B0502040204020203" pitchFamily="34" charset="0"/>
                        </a:rPr>
                      </a:br>
                      <a:r>
                        <a:rPr kumimoji="0" lang="en-US" sz="980" b="0" i="0" u="none" strike="noStrike" kern="0" cap="none" spc="0" normalizeH="0" baseline="0" noProof="0" dirty="0">
                          <a:ln>
                            <a:noFill/>
                          </a:ln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Arial Unicode MS" panose="020B0604020202020204" pitchFamily="34" charset="-128"/>
                          <a:cs typeface="Segoe UI Light" panose="020B0502040204020203" pitchFamily="34" charset="0"/>
                        </a:rPr>
                        <a:t>Directory</a:t>
                      </a:r>
                    </a:p>
                  </p:txBody>
                </p:sp>
                <p:pic>
                  <p:nvPicPr>
                    <p:cNvPr id="341" name="Picture 193" descr="Azure Active Directory.png"/>
                    <p:cNvPicPr>
                      <a:picLocks noChangeAspect="1"/>
                    </p:cNvPicPr>
                    <p:nvPr/>
                  </p:nvPicPr>
                  <p:blipFill>
                    <a:blip r:embed="rId40" cstate="print">
                      <a:biLevel thresh="25000"/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rcRect/>
                    <a:stretch>
                      <a:fillRect/>
                    </a:stretch>
                  </p:blipFill>
                  <p:spPr bwMode="auto">
                    <a:xfrm>
                      <a:off x="368069" y="1313314"/>
                      <a:ext cx="298175" cy="298875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</p:pic>
              </p:grpSp>
              <p:grpSp>
                <p:nvGrpSpPr>
                  <p:cNvPr id="322" name="Group 321"/>
                  <p:cNvGrpSpPr/>
                  <p:nvPr/>
                </p:nvGrpSpPr>
                <p:grpSpPr>
                  <a:xfrm>
                    <a:off x="466215" y="2129907"/>
                    <a:ext cx="1004066" cy="301625"/>
                    <a:chOff x="391710" y="1847920"/>
                    <a:chExt cx="1004066" cy="301625"/>
                  </a:xfrm>
                </p:grpSpPr>
                <p:sp>
                  <p:nvSpPr>
                    <p:cNvPr id="338" name="TextBox 337"/>
                    <p:cNvSpPr txBox="1"/>
                    <p:nvPr/>
                  </p:nvSpPr>
                  <p:spPr bwMode="auto">
                    <a:xfrm>
                      <a:off x="736963" y="1847920"/>
                      <a:ext cx="658813" cy="301625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txBody>
                    <a:bodyPr wrap="none" lIns="0" tIns="27971" rIns="0" bIns="0" anchor="ctr" anchorCtr="0"/>
                    <a:lstStyle>
                      <a:defPPr>
                        <a:defRPr lang="en-US"/>
                      </a:defPPr>
                      <a:lvl1pPr defTabSz="932317">
                        <a:lnSpc>
                          <a:spcPct val="90000"/>
                        </a:lnSpc>
                        <a:spcBef>
                          <a:spcPts val="600"/>
                        </a:spcBef>
                        <a:defRPr sz="1000">
                          <a:gradFill>
                            <a:gsLst>
                              <a:gs pos="76250">
                                <a:schemeClr val="bg1"/>
                              </a:gs>
                              <a:gs pos="31000">
                                <a:schemeClr val="bg1"/>
                              </a:gs>
                            </a:gsLst>
                            <a:lin ang="5400000" scaled="0"/>
                          </a:gradFill>
                          <a:latin typeface="+mn-lt"/>
                          <a:ea typeface="Arial Unicode MS" panose="020B0604020202020204" pitchFamily="34" charset="-128"/>
                          <a:cs typeface="Segoe UI Light" panose="020B0502040204020203" pitchFamily="34" charset="0"/>
                        </a:defRPr>
                      </a:lvl1pPr>
                    </a:lstStyle>
                    <a:p>
                      <a:pPr marL="0" marR="0" lvl="0" indent="0" defTabSz="913950" eaLnBrk="0" fontAlgn="base" latinLnBrk="0" hangingPunct="0">
                        <a:lnSpc>
                          <a:spcPct val="90000"/>
                        </a:lnSpc>
                        <a:spcBef>
                          <a:spcPts val="588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80" b="0" i="0" u="none" strike="noStrike" kern="0" cap="none" spc="0" normalizeH="0" baseline="0" noProof="0" dirty="0">
                          <a:ln>
                            <a:noFill/>
                          </a:ln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Arial Unicode MS" panose="020B0604020202020204" pitchFamily="34" charset="-128"/>
                          <a:cs typeface="Segoe UI Light" panose="020B0502040204020203" pitchFamily="34" charset="0"/>
                        </a:rPr>
                        <a:t>Multi-Factor</a:t>
                      </a:r>
                      <a:br>
                        <a:rPr kumimoji="0" lang="en-US" sz="980" b="0" i="0" u="none" strike="noStrike" kern="0" cap="none" spc="0" normalizeH="0" baseline="0" noProof="0" dirty="0">
                          <a:ln>
                            <a:noFill/>
                          </a:ln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Arial Unicode MS" panose="020B0604020202020204" pitchFamily="34" charset="-128"/>
                          <a:cs typeface="Segoe UI Light" panose="020B0502040204020203" pitchFamily="34" charset="0"/>
                        </a:rPr>
                      </a:br>
                      <a:r>
                        <a:rPr kumimoji="0" lang="en-US" sz="980" b="0" i="0" u="none" strike="noStrike" kern="0" cap="none" spc="0" normalizeH="0" baseline="0" noProof="0" dirty="0">
                          <a:ln>
                            <a:noFill/>
                          </a:ln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Arial Unicode MS" panose="020B0604020202020204" pitchFamily="34" charset="-128"/>
                          <a:cs typeface="Segoe UI Light" panose="020B0502040204020203" pitchFamily="34" charset="0"/>
                        </a:rPr>
                        <a:t>Authentication</a:t>
                      </a:r>
                    </a:p>
                  </p:txBody>
                </p:sp>
                <p:pic>
                  <p:nvPicPr>
                    <p:cNvPr id="339" name="Picture 195" descr="Multi-Factor Authentication.png"/>
                    <p:cNvPicPr>
                      <a:picLocks noChangeAspect="1"/>
                    </p:cNvPicPr>
                    <p:nvPr/>
                  </p:nvPicPr>
                  <p:blipFill>
                    <a:blip r:embed="rId41" cstate="print">
                      <a:biLevel thresh="25000"/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rcRect/>
                    <a:stretch>
                      <a:fillRect/>
                    </a:stretch>
                  </p:blipFill>
                  <p:spPr bwMode="auto">
                    <a:xfrm>
                      <a:off x="391710" y="1854270"/>
                      <a:ext cx="288064" cy="288138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</p:pic>
              </p:grpSp>
              <p:grpSp>
                <p:nvGrpSpPr>
                  <p:cNvPr id="323" name="Group 322"/>
                  <p:cNvGrpSpPr/>
                  <p:nvPr/>
                </p:nvGrpSpPr>
                <p:grpSpPr>
                  <a:xfrm>
                    <a:off x="442574" y="2602077"/>
                    <a:ext cx="1027706" cy="301625"/>
                    <a:chOff x="368069" y="2341251"/>
                    <a:chExt cx="1027706" cy="301625"/>
                  </a:xfrm>
                </p:grpSpPr>
                <p:sp>
                  <p:nvSpPr>
                    <p:cNvPr id="336" name="TextBox 335"/>
                    <p:cNvSpPr txBox="1"/>
                    <p:nvPr/>
                  </p:nvSpPr>
                  <p:spPr bwMode="auto">
                    <a:xfrm>
                      <a:off x="736963" y="2341251"/>
                      <a:ext cx="658812" cy="301625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txBody>
                    <a:bodyPr wrap="none" lIns="0" tIns="27971" rIns="0" bIns="0" anchor="ctr" anchorCtr="0"/>
                    <a:lstStyle>
                      <a:defPPr>
                        <a:defRPr lang="en-US"/>
                      </a:defPPr>
                      <a:lvl1pPr defTabSz="932317">
                        <a:lnSpc>
                          <a:spcPct val="90000"/>
                        </a:lnSpc>
                        <a:spcBef>
                          <a:spcPts val="600"/>
                        </a:spcBef>
                        <a:defRPr sz="1000">
                          <a:gradFill>
                            <a:gsLst>
                              <a:gs pos="76250">
                                <a:schemeClr val="bg1"/>
                              </a:gs>
                              <a:gs pos="31000">
                                <a:schemeClr val="bg1"/>
                              </a:gs>
                            </a:gsLst>
                            <a:lin ang="5400000" scaled="0"/>
                          </a:gradFill>
                          <a:latin typeface="+mn-lt"/>
                          <a:ea typeface="Arial Unicode MS" panose="020B0604020202020204" pitchFamily="34" charset="-128"/>
                          <a:cs typeface="Segoe UI Light" panose="020B0502040204020203" pitchFamily="34" charset="0"/>
                        </a:defRPr>
                      </a:lvl1pPr>
                    </a:lstStyle>
                    <a:p>
                      <a:pPr marL="0" marR="0" lvl="0" indent="0" defTabSz="913950" eaLnBrk="0" fontAlgn="base" latinLnBrk="0" hangingPunct="0">
                        <a:lnSpc>
                          <a:spcPct val="90000"/>
                        </a:lnSpc>
                        <a:spcBef>
                          <a:spcPts val="588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80" b="0" i="0" u="none" strike="noStrike" kern="0" cap="none" spc="0" normalizeH="0" baseline="0" noProof="0" dirty="0">
                          <a:ln>
                            <a:noFill/>
                          </a:ln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Arial Unicode MS" panose="020B0604020202020204" pitchFamily="34" charset="-128"/>
                          <a:cs typeface="Segoe UI Light" panose="020B0502040204020203" pitchFamily="34" charset="0"/>
                        </a:rPr>
                        <a:t>Automation</a:t>
                      </a:r>
                    </a:p>
                  </p:txBody>
                </p:sp>
                <p:pic>
                  <p:nvPicPr>
                    <p:cNvPr id="337" name="Picture 198" descr="Azure automation.png"/>
                    <p:cNvPicPr>
                      <a:picLocks noChangeAspect="1"/>
                    </p:cNvPicPr>
                    <p:nvPr/>
                  </p:nvPicPr>
                  <p:blipFill>
                    <a:blip r:embed="rId42" cstate="print">
                      <a:biLevel thresh="25000"/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rcRect/>
                    <a:stretch>
                      <a:fillRect/>
                    </a:stretch>
                  </p:blipFill>
                  <p:spPr bwMode="auto">
                    <a:xfrm>
                      <a:off x="368069" y="2347601"/>
                      <a:ext cx="289482" cy="290464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</p:pic>
              </p:grpSp>
              <p:grpSp>
                <p:nvGrpSpPr>
                  <p:cNvPr id="324" name="Group 323"/>
                  <p:cNvGrpSpPr/>
                  <p:nvPr/>
                </p:nvGrpSpPr>
                <p:grpSpPr>
                  <a:xfrm>
                    <a:off x="442574" y="1199688"/>
                    <a:ext cx="1027707" cy="285916"/>
                    <a:chOff x="368069" y="762503"/>
                    <a:chExt cx="1027707" cy="285916"/>
                  </a:xfrm>
                </p:grpSpPr>
                <p:sp>
                  <p:nvSpPr>
                    <p:cNvPr id="334" name="TextBox 333"/>
                    <p:cNvSpPr txBox="1"/>
                    <p:nvPr/>
                  </p:nvSpPr>
                  <p:spPr bwMode="auto">
                    <a:xfrm>
                      <a:off x="736963" y="789031"/>
                      <a:ext cx="658813" cy="232860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txBody>
                    <a:bodyPr wrap="none" lIns="0" tIns="27971" rIns="0" bIns="0" anchor="ctr" anchorCtr="0"/>
                    <a:lstStyle/>
                    <a:p>
                      <a:pPr marL="0" marR="0" lvl="0" indent="0" defTabSz="913950" eaLnBrk="0" fontAlgn="base" latinLnBrk="0" hangingPunct="0">
                        <a:lnSpc>
                          <a:spcPct val="90000"/>
                        </a:lnSpc>
                        <a:spcBef>
                          <a:spcPts val="588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80" b="0" i="0" u="none" strike="noStrike" kern="0" cap="none" spc="0" normalizeH="0" baseline="0" noProof="0" dirty="0">
                          <a:ln>
                            <a:noFill/>
                          </a:ln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ea typeface="Arial Unicode MS" panose="020B0604020202020204" pitchFamily="34" charset="-128"/>
                          <a:cs typeface="Segoe UI Light" panose="020B0502040204020203" pitchFamily="34" charset="0"/>
                        </a:rPr>
                        <a:t>Portal</a:t>
                      </a:r>
                    </a:p>
                  </p:txBody>
                </p:sp>
                <p:pic>
                  <p:nvPicPr>
                    <p:cNvPr id="335" name="Picture 200" descr="Azure subscription.png"/>
                    <p:cNvPicPr>
                      <a:picLocks noChangeAspect="1"/>
                    </p:cNvPicPr>
                    <p:nvPr/>
                  </p:nvPicPr>
                  <p:blipFill>
                    <a:blip r:embed="rId43" cstate="print">
                      <a:biLevel thresh="25000"/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rcRect/>
                    <a:stretch>
                      <a:fillRect/>
                    </a:stretch>
                  </p:blipFill>
                  <p:spPr bwMode="auto">
                    <a:xfrm>
                      <a:off x="368069" y="762503"/>
                      <a:ext cx="286234" cy="285916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</p:pic>
              </p:grpSp>
              <p:grpSp>
                <p:nvGrpSpPr>
                  <p:cNvPr id="325" name="Group 324"/>
                  <p:cNvGrpSpPr/>
                  <p:nvPr/>
                </p:nvGrpSpPr>
                <p:grpSpPr>
                  <a:xfrm>
                    <a:off x="442574" y="3074247"/>
                    <a:ext cx="1027707" cy="301625"/>
                    <a:chOff x="368069" y="2835216"/>
                    <a:chExt cx="1027707" cy="301625"/>
                  </a:xfrm>
                </p:grpSpPr>
                <p:sp>
                  <p:nvSpPr>
                    <p:cNvPr id="332" name="TextBox 331"/>
                    <p:cNvSpPr txBox="1"/>
                    <p:nvPr/>
                  </p:nvSpPr>
                  <p:spPr bwMode="auto">
                    <a:xfrm>
                      <a:off x="736963" y="2835216"/>
                      <a:ext cx="658813" cy="301625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txBody>
                    <a:bodyPr wrap="none" lIns="0" tIns="27971" rIns="0" bIns="0" anchor="ctr" anchorCtr="0"/>
                    <a:lstStyle>
                      <a:defPPr>
                        <a:defRPr lang="en-US"/>
                      </a:defPPr>
                      <a:lvl1pPr defTabSz="932317">
                        <a:lnSpc>
                          <a:spcPct val="90000"/>
                        </a:lnSpc>
                        <a:spcBef>
                          <a:spcPts val="600"/>
                        </a:spcBef>
                        <a:defRPr sz="1000">
                          <a:gradFill>
                            <a:gsLst>
                              <a:gs pos="76250">
                                <a:schemeClr val="bg1"/>
                              </a:gs>
                              <a:gs pos="31000">
                                <a:schemeClr val="bg1"/>
                              </a:gs>
                            </a:gsLst>
                            <a:lin ang="5400000" scaled="0"/>
                          </a:gradFill>
                          <a:latin typeface="+mn-lt"/>
                          <a:ea typeface="Arial Unicode MS" panose="020B0604020202020204" pitchFamily="34" charset="-128"/>
                          <a:cs typeface="Segoe UI Light" panose="020B0502040204020203" pitchFamily="34" charset="0"/>
                        </a:defRPr>
                      </a:lvl1pPr>
                    </a:lstStyle>
                    <a:p>
                      <a:pPr marL="0" marR="0" lvl="0" indent="0" defTabSz="913950" eaLnBrk="0" fontAlgn="base" latinLnBrk="0" hangingPunct="0">
                        <a:lnSpc>
                          <a:spcPct val="90000"/>
                        </a:lnSpc>
                        <a:spcBef>
                          <a:spcPts val="588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80" b="0" i="0" u="none" strike="noStrike" kern="0" cap="none" spc="0" normalizeH="0" baseline="0" noProof="0" dirty="0">
                          <a:ln>
                            <a:noFill/>
                          </a:ln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Arial Unicode MS" panose="020B0604020202020204" pitchFamily="34" charset="-128"/>
                          <a:cs typeface="Segoe UI Light" panose="020B0502040204020203" pitchFamily="34" charset="0"/>
                        </a:rPr>
                        <a:t>Key Vault</a:t>
                      </a:r>
                    </a:p>
                  </p:txBody>
                </p:sp>
                <p:pic>
                  <p:nvPicPr>
                    <p:cNvPr id="333" name="Picture 204" descr="AzureKeyVault_icon_white.png"/>
                    <p:cNvPicPr>
                      <a:picLocks noChangeAspect="1"/>
                    </p:cNvPicPr>
                    <p:nvPr/>
                  </p:nvPicPr>
                  <p:blipFill>
                    <a:blip r:embed="rId44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rcRect/>
                    <a:stretch>
                      <a:fillRect/>
                    </a:stretch>
                  </p:blipFill>
                  <p:spPr bwMode="auto">
                    <a:xfrm>
                      <a:off x="368069" y="2835216"/>
                      <a:ext cx="266988" cy="296645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</p:pic>
              </p:grpSp>
              <p:grpSp>
                <p:nvGrpSpPr>
                  <p:cNvPr id="326" name="Group 325"/>
                  <p:cNvGrpSpPr/>
                  <p:nvPr/>
                </p:nvGrpSpPr>
                <p:grpSpPr>
                  <a:xfrm>
                    <a:off x="419554" y="3546417"/>
                    <a:ext cx="1458716" cy="301625"/>
                    <a:chOff x="345049" y="3328988"/>
                    <a:chExt cx="1458716" cy="301625"/>
                  </a:xfrm>
                </p:grpSpPr>
                <p:sp>
                  <p:nvSpPr>
                    <p:cNvPr id="330" name="TextBox 329"/>
                    <p:cNvSpPr txBox="1"/>
                    <p:nvPr/>
                  </p:nvSpPr>
                  <p:spPr bwMode="auto">
                    <a:xfrm>
                      <a:off x="736963" y="3328988"/>
                      <a:ext cx="1066802" cy="301625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txBody>
                    <a:bodyPr wrap="none" lIns="0" tIns="27971" rIns="0" bIns="0" anchor="ctr" anchorCtr="0"/>
                    <a:lstStyle>
                      <a:defPPr>
                        <a:defRPr lang="en-US"/>
                      </a:defPPr>
                      <a:lvl1pPr defTabSz="932317">
                        <a:lnSpc>
                          <a:spcPct val="90000"/>
                        </a:lnSpc>
                        <a:spcBef>
                          <a:spcPts val="600"/>
                        </a:spcBef>
                        <a:defRPr sz="1000">
                          <a:gradFill>
                            <a:gsLst>
                              <a:gs pos="76250">
                                <a:schemeClr val="bg1"/>
                              </a:gs>
                              <a:gs pos="31000">
                                <a:schemeClr val="bg1"/>
                              </a:gs>
                            </a:gsLst>
                            <a:lin ang="5400000" scaled="0"/>
                          </a:gradFill>
                          <a:latin typeface="+mn-lt"/>
                          <a:ea typeface="Arial Unicode MS" panose="020B0604020202020204" pitchFamily="34" charset="-128"/>
                          <a:cs typeface="Segoe UI Light" panose="020B0502040204020203" pitchFamily="34" charset="0"/>
                        </a:defRPr>
                      </a:lvl1pPr>
                    </a:lstStyle>
                    <a:p>
                      <a:pPr marL="0" marR="0" lvl="0" indent="0" defTabSz="913950" eaLnBrk="0" fontAlgn="base" latinLnBrk="0" hangingPunct="0">
                        <a:lnSpc>
                          <a:spcPct val="90000"/>
                        </a:lnSpc>
                        <a:spcBef>
                          <a:spcPts val="588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80" b="0" i="0" u="none" strike="noStrike" kern="0" cap="none" spc="0" normalizeH="0" baseline="0" noProof="0" dirty="0">
                          <a:ln>
                            <a:noFill/>
                          </a:ln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Arial Unicode MS" panose="020B0604020202020204" pitchFamily="34" charset="-128"/>
                          <a:cs typeface="Segoe UI Light" panose="020B0502040204020203" pitchFamily="34" charset="0"/>
                        </a:rPr>
                        <a:t>Store/</a:t>
                      </a:r>
                      <a:br>
                        <a:rPr kumimoji="0" lang="en-US" sz="980" b="0" i="0" u="none" strike="noStrike" kern="0" cap="none" spc="0" normalizeH="0" baseline="0" noProof="0" dirty="0">
                          <a:ln>
                            <a:noFill/>
                          </a:ln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Arial Unicode MS" panose="020B0604020202020204" pitchFamily="34" charset="-128"/>
                          <a:cs typeface="Segoe UI Light" panose="020B0502040204020203" pitchFamily="34" charset="0"/>
                        </a:rPr>
                      </a:br>
                      <a:r>
                        <a:rPr kumimoji="0" lang="en-US" sz="980" b="0" i="0" u="none" strike="noStrike" kern="0" cap="none" spc="0" normalizeH="0" baseline="0" noProof="0" dirty="0">
                          <a:ln>
                            <a:noFill/>
                          </a:ln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Arial Unicode MS" panose="020B0604020202020204" pitchFamily="34" charset="-128"/>
                          <a:cs typeface="Segoe UI Light" panose="020B0502040204020203" pitchFamily="34" charset="0"/>
                        </a:rPr>
                        <a:t>Marketplace</a:t>
                      </a:r>
                    </a:p>
                  </p:txBody>
                </p:sp>
                <p:pic>
                  <p:nvPicPr>
                    <p:cNvPr id="331" name="Picture 230" descr="Azure Marketplace.png"/>
                    <p:cNvPicPr>
                      <a:picLocks noChangeAspect="1"/>
                    </p:cNvPicPr>
                    <p:nvPr/>
                  </p:nvPicPr>
                  <p:blipFill>
                    <a:blip r:embed="rId45" cstate="print">
                      <a:biLevel thresh="25000"/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rcRect/>
                    <a:stretch>
                      <a:fillRect/>
                    </a:stretch>
                  </p:blipFill>
                  <p:spPr bwMode="auto">
                    <a:xfrm>
                      <a:off x="345049" y="3338513"/>
                      <a:ext cx="291101" cy="291511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</p:pic>
              </p:grpSp>
              <p:grpSp>
                <p:nvGrpSpPr>
                  <p:cNvPr id="327" name="Group 326"/>
                  <p:cNvGrpSpPr/>
                  <p:nvPr/>
                </p:nvGrpSpPr>
                <p:grpSpPr>
                  <a:xfrm>
                    <a:off x="442574" y="4018588"/>
                    <a:ext cx="1029294" cy="301625"/>
                    <a:chOff x="368069" y="3867931"/>
                    <a:chExt cx="1029294" cy="301625"/>
                  </a:xfrm>
                </p:grpSpPr>
                <p:pic>
                  <p:nvPicPr>
                    <p:cNvPr id="328" name="Picture 412"/>
                    <p:cNvPicPr>
                      <a:picLocks noChangeAspect="1"/>
                    </p:cNvPicPr>
                    <p:nvPr/>
                  </p:nvPicPr>
                  <p:blipFill>
                    <a:blip r:embed="rId46" cstate="print">
                      <a:biLevel thresh="25000"/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rcRect/>
                    <a:stretch>
                      <a:fillRect/>
                    </a:stretch>
                  </p:blipFill>
                  <p:spPr bwMode="auto">
                    <a:xfrm>
                      <a:off x="368069" y="3891744"/>
                      <a:ext cx="252343" cy="252287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</p:pic>
                <p:sp>
                  <p:nvSpPr>
                    <p:cNvPr id="329" name="TextBox 328"/>
                    <p:cNvSpPr txBox="1"/>
                    <p:nvPr/>
                  </p:nvSpPr>
                  <p:spPr bwMode="auto">
                    <a:xfrm>
                      <a:off x="736963" y="3867931"/>
                      <a:ext cx="660400" cy="301625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txBody>
                    <a:bodyPr wrap="none" lIns="0" tIns="27971" rIns="0" bIns="0" anchor="ctr" anchorCtr="0"/>
                    <a:lstStyle>
                      <a:defPPr>
                        <a:defRPr lang="en-US"/>
                      </a:defPPr>
                      <a:lvl1pPr defTabSz="932317">
                        <a:lnSpc>
                          <a:spcPct val="90000"/>
                        </a:lnSpc>
                        <a:spcBef>
                          <a:spcPts val="600"/>
                        </a:spcBef>
                        <a:defRPr sz="1000">
                          <a:gradFill>
                            <a:gsLst>
                              <a:gs pos="76250">
                                <a:schemeClr val="bg1"/>
                              </a:gs>
                              <a:gs pos="31000">
                                <a:schemeClr val="bg1"/>
                              </a:gs>
                            </a:gsLst>
                            <a:lin ang="5400000" scaled="0"/>
                          </a:gradFill>
                          <a:latin typeface="+mn-lt"/>
                          <a:ea typeface="Arial Unicode MS" panose="020B0604020202020204" pitchFamily="34" charset="-128"/>
                          <a:cs typeface="Segoe UI Light" panose="020B0502040204020203" pitchFamily="34" charset="0"/>
                        </a:defRPr>
                      </a:lvl1pPr>
                    </a:lstStyle>
                    <a:p>
                      <a:pPr marL="0" marR="0" lvl="0" indent="0" defTabSz="913950" eaLnBrk="0" fontAlgn="base" latinLnBrk="0" hangingPunct="0">
                        <a:lnSpc>
                          <a:spcPct val="90000"/>
                        </a:lnSpc>
                        <a:spcBef>
                          <a:spcPts val="588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80" b="0" i="0" u="none" strike="noStrike" kern="0" cap="none" spc="0" normalizeH="0" baseline="0" noProof="0" dirty="0">
                          <a:ln>
                            <a:noFill/>
                          </a:ln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Arial Unicode MS" panose="020B0604020202020204" pitchFamily="34" charset="-128"/>
                          <a:cs typeface="Segoe UI Light" panose="020B0502040204020203" pitchFamily="34" charset="0"/>
                        </a:rPr>
                        <a:t>VM Image Gallery</a:t>
                      </a:r>
                      <a:br>
                        <a:rPr kumimoji="0" lang="en-US" sz="980" b="0" i="0" u="none" strike="noStrike" kern="0" cap="none" spc="0" normalizeH="0" baseline="0" noProof="0" dirty="0">
                          <a:ln>
                            <a:noFill/>
                          </a:ln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Arial Unicode MS" panose="020B0604020202020204" pitchFamily="34" charset="-128"/>
                          <a:cs typeface="Segoe UI Light" panose="020B0502040204020203" pitchFamily="34" charset="0"/>
                        </a:rPr>
                      </a:br>
                      <a:r>
                        <a:rPr kumimoji="0" lang="en-US" sz="980" b="0" i="0" u="none" strike="noStrike" kern="0" cap="none" spc="0" normalizeH="0" baseline="0" noProof="0" dirty="0">
                          <a:ln>
                            <a:noFill/>
                          </a:ln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Arial Unicode MS" panose="020B0604020202020204" pitchFamily="34" charset="-128"/>
                          <a:cs typeface="Segoe UI Light" panose="020B0502040204020203" pitchFamily="34" charset="0"/>
                        </a:rPr>
                        <a:t>and VM Depot</a:t>
                      </a:r>
                    </a:p>
                  </p:txBody>
                </p:sp>
              </p:grpSp>
            </p:grpSp>
          </p:grpSp>
          <p:grpSp>
            <p:nvGrpSpPr>
              <p:cNvPr id="13" name="Group 12"/>
              <p:cNvGrpSpPr/>
              <p:nvPr userDrawn="1"/>
            </p:nvGrpSpPr>
            <p:grpSpPr>
              <a:xfrm>
                <a:off x="10572607" y="543029"/>
                <a:ext cx="1619393" cy="3786173"/>
                <a:chOff x="10572607" y="543029"/>
                <a:chExt cx="1619393" cy="3786173"/>
              </a:xfrm>
            </p:grpSpPr>
            <p:sp>
              <p:nvSpPr>
                <p:cNvPr id="288" name="Rectangle 287"/>
                <p:cNvSpPr/>
                <p:nvPr/>
              </p:nvSpPr>
              <p:spPr bwMode="auto">
                <a:xfrm>
                  <a:off x="10572607" y="543029"/>
                  <a:ext cx="1619393" cy="3786173"/>
                </a:xfrm>
                <a:prstGeom prst="rect">
                  <a:avLst/>
                </a:prstGeom>
                <a:solidFill>
                  <a:srgbClr val="1B3C72"/>
                </a:solidFill>
                <a:ln w="6350" cap="flat" cmpd="sng" algn="ctr">
                  <a:noFill/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  <p:txBody>
                <a:bodyPr lIns="265176" tIns="143428" rIns="179285" bIns="143428"/>
                <a:lstStyle/>
                <a:p>
                  <a:pPr marL="0" marR="0" lvl="0" indent="0" algn="ctr" defTabSz="895923" eaLnBrk="1" fontAlgn="base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372" b="0" i="0" u="none" strike="noStrike" kern="0" cap="none" spc="0" normalizeH="0" baseline="0" noProof="0" dirty="0">
                      <a:ln>
                        <a:noFill/>
                      </a:ln>
                      <a:gradFill>
                        <a:gsLst>
                          <a:gs pos="76250">
                            <a:srgbClr val="FFFFFF"/>
                          </a:gs>
                          <a:gs pos="31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 Semibold" panose="020B0702040204020203" pitchFamily="34" charset="0"/>
                      <a:ea typeface="Segoe UI" pitchFamily="34" charset="0"/>
                      <a:cs typeface="Segoe UI Semibold" panose="020B0702040204020203" pitchFamily="34" charset="0"/>
                    </a:rPr>
                    <a:t>Hybrid</a:t>
                  </a:r>
                </a:p>
                <a:p>
                  <a:pPr marL="0" marR="0" lvl="0" indent="0" algn="ctr" defTabSz="895923" eaLnBrk="1" fontAlgn="base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372" b="0" i="0" u="none" strike="noStrike" kern="0" cap="none" spc="0" normalizeH="0" baseline="0" noProof="0" dirty="0">
                      <a:ln>
                        <a:noFill/>
                      </a:ln>
                      <a:gradFill>
                        <a:gsLst>
                          <a:gs pos="76250">
                            <a:srgbClr val="FFFFFF"/>
                          </a:gs>
                          <a:gs pos="31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 Semibold" panose="020B0702040204020203" pitchFamily="34" charset="0"/>
                      <a:ea typeface="Segoe UI" pitchFamily="34" charset="0"/>
                      <a:cs typeface="Segoe UI Semibold" panose="020B0702040204020203" pitchFamily="34" charset="0"/>
                    </a:rPr>
                    <a:t>Operations</a:t>
                  </a:r>
                </a:p>
              </p:txBody>
            </p:sp>
            <p:grpSp>
              <p:nvGrpSpPr>
                <p:cNvPr id="12" name="Group 11"/>
                <p:cNvGrpSpPr/>
                <p:nvPr userDrawn="1"/>
              </p:nvGrpSpPr>
              <p:grpSpPr>
                <a:xfrm>
                  <a:off x="10757536" y="1170330"/>
                  <a:ext cx="1249535" cy="2996155"/>
                  <a:chOff x="10729741" y="1170330"/>
                  <a:chExt cx="1249535" cy="2996155"/>
                </a:xfrm>
              </p:grpSpPr>
              <p:grpSp>
                <p:nvGrpSpPr>
                  <p:cNvPr id="7" name="Group 6"/>
                  <p:cNvGrpSpPr/>
                  <p:nvPr userDrawn="1"/>
                </p:nvGrpSpPr>
                <p:grpSpPr>
                  <a:xfrm>
                    <a:off x="10729741" y="2078817"/>
                    <a:ext cx="1064688" cy="300038"/>
                    <a:chOff x="10729741" y="1826583"/>
                    <a:chExt cx="1064688" cy="300038"/>
                  </a:xfrm>
                </p:grpSpPr>
                <p:sp>
                  <p:nvSpPr>
                    <p:cNvPr id="317" name="TextBox 316"/>
                    <p:cNvSpPr txBox="1"/>
                    <p:nvPr/>
                  </p:nvSpPr>
                  <p:spPr bwMode="auto">
                    <a:xfrm>
                      <a:off x="11135616" y="1826583"/>
                      <a:ext cx="658813" cy="300038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txBody>
                    <a:bodyPr wrap="none" lIns="0" tIns="27971" rIns="0" bIns="0" anchor="ctr" anchorCtr="0"/>
                    <a:lstStyle>
                      <a:defPPr>
                        <a:defRPr lang="en-US"/>
                      </a:defPPr>
                      <a:lvl1pPr defTabSz="932317">
                        <a:lnSpc>
                          <a:spcPct val="90000"/>
                        </a:lnSpc>
                        <a:spcBef>
                          <a:spcPts val="600"/>
                        </a:spcBef>
                        <a:defRPr sz="1000">
                          <a:gradFill>
                            <a:gsLst>
                              <a:gs pos="76250">
                                <a:schemeClr val="bg1"/>
                              </a:gs>
                              <a:gs pos="31000">
                                <a:schemeClr val="bg1"/>
                              </a:gs>
                            </a:gsLst>
                            <a:lin ang="5400000" scaled="0"/>
                          </a:gradFill>
                          <a:latin typeface="+mn-lt"/>
                          <a:ea typeface="Arial Unicode MS" panose="020B0604020202020204" pitchFamily="34" charset="-128"/>
                          <a:cs typeface="Segoe UI Light" panose="020B0502040204020203" pitchFamily="34" charset="0"/>
                        </a:defRPr>
                      </a:lvl1pPr>
                    </a:lstStyle>
                    <a:p>
                      <a:pPr marL="0" marR="0" lvl="0" indent="0" defTabSz="913950" eaLnBrk="0" fontAlgn="base" latinLnBrk="0" hangingPunct="0">
                        <a:lnSpc>
                          <a:spcPct val="90000"/>
                        </a:lnSpc>
                        <a:spcBef>
                          <a:spcPts val="588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80" b="0" i="0" u="none" strike="noStrike" kern="0" cap="none" spc="0" normalizeH="0" baseline="0" noProof="0" dirty="0">
                          <a:ln>
                            <a:noFill/>
                          </a:ln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Arial Unicode MS" panose="020B0604020202020204" pitchFamily="34" charset="-128"/>
                          <a:cs typeface="Segoe UI Light" panose="020B0502040204020203" pitchFamily="34" charset="0"/>
                        </a:rPr>
                        <a:t>Backup</a:t>
                      </a:r>
                    </a:p>
                  </p:txBody>
                </p:sp>
                <p:pic>
                  <p:nvPicPr>
                    <p:cNvPr id="318" name="Picture 206" descr="Backup Service.png"/>
                    <p:cNvPicPr>
                      <a:picLocks noChangeAspect="1"/>
                    </p:cNvPicPr>
                    <p:nvPr/>
                  </p:nvPicPr>
                  <p:blipFill>
                    <a:blip r:embed="rId47" cstate="print">
                      <a:biLevel thresh="25000"/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rcRect/>
                    <a:stretch>
                      <a:fillRect/>
                    </a:stretch>
                  </p:blipFill>
                  <p:spPr bwMode="auto">
                    <a:xfrm>
                      <a:off x="10729741" y="1828595"/>
                      <a:ext cx="296404" cy="296015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</p:pic>
              </p:grpSp>
              <p:grpSp>
                <p:nvGrpSpPr>
                  <p:cNvPr id="10" name="Group 9"/>
                  <p:cNvGrpSpPr/>
                  <p:nvPr userDrawn="1"/>
                </p:nvGrpSpPr>
                <p:grpSpPr>
                  <a:xfrm>
                    <a:off x="10735019" y="3417554"/>
                    <a:ext cx="1059409" cy="301625"/>
                    <a:chOff x="10735019" y="3369011"/>
                    <a:chExt cx="1059409" cy="301625"/>
                  </a:xfrm>
                </p:grpSpPr>
                <p:sp>
                  <p:nvSpPr>
                    <p:cNvPr id="315" name="TextBox 314"/>
                    <p:cNvSpPr txBox="1"/>
                    <p:nvPr/>
                  </p:nvSpPr>
                  <p:spPr bwMode="auto">
                    <a:xfrm>
                      <a:off x="11135616" y="3369011"/>
                      <a:ext cx="658812" cy="301625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txBody>
                    <a:bodyPr wrap="none" lIns="0" tIns="27971" rIns="0" bIns="0" anchor="ctr" anchorCtr="0"/>
                    <a:lstStyle>
                      <a:defPPr>
                        <a:defRPr lang="en-US"/>
                      </a:defPPr>
                      <a:lvl1pPr defTabSz="932317">
                        <a:lnSpc>
                          <a:spcPct val="90000"/>
                        </a:lnSpc>
                        <a:spcBef>
                          <a:spcPts val="600"/>
                        </a:spcBef>
                        <a:defRPr sz="1000">
                          <a:gradFill>
                            <a:gsLst>
                              <a:gs pos="76250">
                                <a:schemeClr val="bg1"/>
                              </a:gs>
                              <a:gs pos="31000">
                                <a:schemeClr val="bg1"/>
                              </a:gs>
                            </a:gsLst>
                            <a:lin ang="5400000" scaled="0"/>
                          </a:gradFill>
                          <a:latin typeface="+mn-lt"/>
                          <a:ea typeface="Arial Unicode MS" panose="020B0604020202020204" pitchFamily="34" charset="-128"/>
                          <a:cs typeface="Segoe UI Light" panose="020B0502040204020203" pitchFamily="34" charset="0"/>
                        </a:defRPr>
                      </a:lvl1pPr>
                    </a:lstStyle>
                    <a:p>
                      <a:pPr marL="0" marR="0" lvl="0" indent="0" defTabSz="913950" eaLnBrk="0" fontAlgn="base" latinLnBrk="0" hangingPunct="0">
                        <a:lnSpc>
                          <a:spcPct val="90000"/>
                        </a:lnSpc>
                        <a:spcBef>
                          <a:spcPts val="588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80" b="0" i="0" u="none" strike="noStrike" kern="0" cap="none" spc="0" normalizeH="0" baseline="0" noProof="0" dirty="0">
                          <a:ln>
                            <a:noFill/>
                          </a:ln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Arial Unicode MS" panose="020B0604020202020204" pitchFamily="34" charset="-128"/>
                          <a:cs typeface="Segoe UI Light" panose="020B0502040204020203" pitchFamily="34" charset="0"/>
                        </a:rPr>
                        <a:t>Site</a:t>
                      </a:r>
                      <a:br>
                        <a:rPr kumimoji="0" lang="en-US" sz="980" b="0" i="0" u="none" strike="noStrike" kern="0" cap="none" spc="0" normalizeH="0" baseline="0" noProof="0" dirty="0">
                          <a:ln>
                            <a:noFill/>
                          </a:ln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Arial Unicode MS" panose="020B0604020202020204" pitchFamily="34" charset="-128"/>
                          <a:cs typeface="Segoe UI Light" panose="020B0502040204020203" pitchFamily="34" charset="0"/>
                        </a:rPr>
                      </a:br>
                      <a:r>
                        <a:rPr kumimoji="0" lang="en-US" sz="980" b="0" i="0" u="none" strike="noStrike" kern="0" cap="none" spc="0" normalizeH="0" baseline="0" noProof="0" dirty="0">
                          <a:ln>
                            <a:noFill/>
                          </a:ln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Arial Unicode MS" panose="020B0604020202020204" pitchFamily="34" charset="-128"/>
                          <a:cs typeface="Segoe UI Light" panose="020B0502040204020203" pitchFamily="34" charset="0"/>
                        </a:rPr>
                        <a:t>Recovery</a:t>
                      </a:r>
                    </a:p>
                  </p:txBody>
                </p:sp>
                <p:pic>
                  <p:nvPicPr>
                    <p:cNvPr id="316" name="Picture 210" descr="Site Recovery.png"/>
                    <p:cNvPicPr>
                      <a:picLocks noChangeAspect="1"/>
                    </p:cNvPicPr>
                    <p:nvPr/>
                  </p:nvPicPr>
                  <p:blipFill>
                    <a:blip r:embed="rId48" cstate="print">
                      <a:biLevel thresh="25000"/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rcRect/>
                    <a:stretch>
                      <a:fillRect/>
                    </a:stretch>
                  </p:blipFill>
                  <p:spPr bwMode="auto">
                    <a:xfrm>
                      <a:off x="10735019" y="3369011"/>
                      <a:ext cx="285848" cy="286266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</p:pic>
              </p:grpSp>
              <p:grpSp>
                <p:nvGrpSpPr>
                  <p:cNvPr id="9" name="Group 8"/>
                  <p:cNvGrpSpPr/>
                  <p:nvPr userDrawn="1"/>
                </p:nvGrpSpPr>
                <p:grpSpPr>
                  <a:xfrm>
                    <a:off x="10734570" y="2971838"/>
                    <a:ext cx="1059859" cy="300037"/>
                    <a:chOff x="10734570" y="2856179"/>
                    <a:chExt cx="1059859" cy="300037"/>
                  </a:xfrm>
                </p:grpSpPr>
                <p:sp>
                  <p:nvSpPr>
                    <p:cNvPr id="313" name="TextBox 312"/>
                    <p:cNvSpPr txBox="1"/>
                    <p:nvPr/>
                  </p:nvSpPr>
                  <p:spPr bwMode="auto">
                    <a:xfrm>
                      <a:off x="11135616" y="2856179"/>
                      <a:ext cx="658813" cy="300037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txBody>
                    <a:bodyPr wrap="none" lIns="0" tIns="27971" rIns="0" bIns="0" anchor="ctr" anchorCtr="0"/>
                    <a:lstStyle>
                      <a:defPPr>
                        <a:defRPr lang="en-US"/>
                      </a:defPPr>
                      <a:lvl1pPr defTabSz="932317">
                        <a:lnSpc>
                          <a:spcPct val="90000"/>
                        </a:lnSpc>
                        <a:spcBef>
                          <a:spcPts val="600"/>
                        </a:spcBef>
                        <a:defRPr sz="1000">
                          <a:gradFill>
                            <a:gsLst>
                              <a:gs pos="76250">
                                <a:schemeClr val="bg1"/>
                              </a:gs>
                              <a:gs pos="31000">
                                <a:schemeClr val="bg1"/>
                              </a:gs>
                            </a:gsLst>
                            <a:lin ang="5400000" scaled="0"/>
                          </a:gradFill>
                          <a:latin typeface="+mn-lt"/>
                          <a:ea typeface="Arial Unicode MS" panose="020B0604020202020204" pitchFamily="34" charset="-128"/>
                          <a:cs typeface="Segoe UI Light" panose="020B0502040204020203" pitchFamily="34" charset="0"/>
                        </a:defRPr>
                      </a:lvl1pPr>
                    </a:lstStyle>
                    <a:p>
                      <a:pPr marL="0" marR="0" lvl="0" indent="0" defTabSz="913950" eaLnBrk="0" fontAlgn="base" latinLnBrk="0" hangingPunct="0">
                        <a:lnSpc>
                          <a:spcPct val="90000"/>
                        </a:lnSpc>
                        <a:spcBef>
                          <a:spcPts val="588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80" b="0" i="0" u="none" strike="noStrike" kern="0" cap="none" spc="0" normalizeH="0" baseline="0" noProof="0" dirty="0">
                          <a:ln>
                            <a:noFill/>
                          </a:ln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Arial Unicode MS" panose="020B0604020202020204" pitchFamily="34" charset="-128"/>
                          <a:cs typeface="Segoe UI Light" panose="020B0502040204020203" pitchFamily="34" charset="0"/>
                        </a:rPr>
                        <a:t>Import/Export</a:t>
                      </a:r>
                    </a:p>
                  </p:txBody>
                </p:sp>
                <p:pic>
                  <p:nvPicPr>
                    <p:cNvPr id="314" name="Picture 212" descr="Storage (Azure).png"/>
                    <p:cNvPicPr>
                      <a:picLocks noChangeAspect="1"/>
                    </p:cNvPicPr>
                    <p:nvPr/>
                  </p:nvPicPr>
                  <p:blipFill>
                    <a:blip r:embed="rId49" cstate="print">
                      <a:biLevel thresh="25000"/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rcRect/>
                    <a:stretch>
                      <a:fillRect/>
                    </a:stretch>
                  </p:blipFill>
                  <p:spPr bwMode="auto">
                    <a:xfrm>
                      <a:off x="10734570" y="2856179"/>
                      <a:ext cx="286746" cy="286316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</p:pic>
              </p:grpSp>
              <p:grpSp>
                <p:nvGrpSpPr>
                  <p:cNvPr id="5" name="Group 4"/>
                  <p:cNvGrpSpPr/>
                  <p:nvPr userDrawn="1"/>
                </p:nvGrpSpPr>
                <p:grpSpPr>
                  <a:xfrm>
                    <a:off x="10755293" y="1616047"/>
                    <a:ext cx="1223983" cy="317091"/>
                    <a:chOff x="10755293" y="1282976"/>
                    <a:chExt cx="1223983" cy="317091"/>
                  </a:xfrm>
                </p:grpSpPr>
                <p:sp>
                  <p:nvSpPr>
                    <p:cNvPr id="311" name="TextBox 310"/>
                    <p:cNvSpPr txBox="1"/>
                    <p:nvPr/>
                  </p:nvSpPr>
                  <p:spPr bwMode="auto">
                    <a:xfrm>
                      <a:off x="11135616" y="1291503"/>
                      <a:ext cx="843660" cy="300230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txBody>
                    <a:bodyPr wrap="none" lIns="0" tIns="27971" rIns="0" bIns="0" anchor="ctr" anchorCtr="0"/>
                    <a:lstStyle>
                      <a:defPPr>
                        <a:defRPr lang="en-US"/>
                      </a:defPPr>
                      <a:lvl1pPr defTabSz="932317">
                        <a:lnSpc>
                          <a:spcPct val="90000"/>
                        </a:lnSpc>
                        <a:spcBef>
                          <a:spcPts val="600"/>
                        </a:spcBef>
                        <a:defRPr sz="1000">
                          <a:gradFill>
                            <a:gsLst>
                              <a:gs pos="76250">
                                <a:schemeClr val="bg1"/>
                              </a:gs>
                              <a:gs pos="31000">
                                <a:schemeClr val="bg1"/>
                              </a:gs>
                            </a:gsLst>
                            <a:lin ang="5400000" scaled="0"/>
                          </a:gradFill>
                          <a:latin typeface="+mn-lt"/>
                          <a:ea typeface="Arial Unicode MS" panose="020B0604020202020204" pitchFamily="34" charset="-128"/>
                          <a:cs typeface="Segoe UI Light" panose="020B0502040204020203" pitchFamily="34" charset="0"/>
                        </a:defRPr>
                      </a:lvl1pPr>
                    </a:lstStyle>
                    <a:p>
                      <a:pPr marL="0" marR="0" lvl="0" indent="0" defTabSz="913950" eaLnBrk="0" fontAlgn="base" latinLnBrk="0" hangingPunct="0">
                        <a:lnSpc>
                          <a:spcPct val="90000"/>
                        </a:lnSpc>
                        <a:spcBef>
                          <a:spcPts val="588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80" b="0" i="0" u="none" strike="noStrike" kern="0" cap="none" spc="0" normalizeH="0" baseline="0" noProof="0" dirty="0">
                          <a:ln>
                            <a:noFill/>
                          </a:ln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Arial Unicode MS" panose="020B0604020202020204" pitchFamily="34" charset="-128"/>
                          <a:cs typeface="Segoe UI Light" panose="020B0502040204020203" pitchFamily="34" charset="0"/>
                        </a:rPr>
                        <a:t>AD Privileged</a:t>
                      </a:r>
                      <a:br>
                        <a:rPr kumimoji="0" lang="en-US" sz="980" b="0" i="0" u="none" strike="noStrike" kern="0" cap="none" spc="0" normalizeH="0" baseline="0" noProof="0" dirty="0">
                          <a:ln>
                            <a:noFill/>
                          </a:ln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Arial Unicode MS" panose="020B0604020202020204" pitchFamily="34" charset="-128"/>
                          <a:cs typeface="Segoe UI Light" panose="020B0502040204020203" pitchFamily="34" charset="0"/>
                        </a:rPr>
                      </a:br>
                      <a:r>
                        <a:rPr kumimoji="0" lang="en-US" sz="980" b="0" i="0" u="none" strike="noStrike" kern="0" cap="none" spc="0" normalizeH="0" baseline="0" noProof="0" dirty="0">
                          <a:ln>
                            <a:noFill/>
                          </a:ln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Arial Unicode MS" panose="020B0604020202020204" pitchFamily="34" charset="-128"/>
                          <a:cs typeface="Segoe UI Light" panose="020B0502040204020203" pitchFamily="34" charset="0"/>
                        </a:rPr>
                        <a:t>Identity </a:t>
                      </a:r>
                      <a:br>
                        <a:rPr kumimoji="0" lang="en-US" sz="980" b="0" i="0" u="none" strike="noStrike" kern="0" cap="none" spc="0" normalizeH="0" baseline="0" noProof="0" dirty="0">
                          <a:ln>
                            <a:noFill/>
                          </a:ln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Arial Unicode MS" panose="020B0604020202020204" pitchFamily="34" charset="-128"/>
                          <a:cs typeface="Segoe UI Light" panose="020B0502040204020203" pitchFamily="34" charset="0"/>
                        </a:rPr>
                      </a:br>
                      <a:r>
                        <a:rPr kumimoji="0" lang="en-US" sz="980" b="0" i="0" u="none" strike="noStrike" kern="0" cap="none" spc="0" normalizeH="0" baseline="0" noProof="0" dirty="0">
                          <a:ln>
                            <a:noFill/>
                          </a:ln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Arial Unicode MS" panose="020B0604020202020204" pitchFamily="34" charset="-128"/>
                          <a:cs typeface="Segoe UI Light" panose="020B0502040204020203" pitchFamily="34" charset="0"/>
                        </a:rPr>
                        <a:t>Management</a:t>
                      </a:r>
                    </a:p>
                  </p:txBody>
                </p:sp>
                <p:pic>
                  <p:nvPicPr>
                    <p:cNvPr id="312" name="Picture 271"/>
                    <p:cNvPicPr>
                      <a:picLocks noChangeAspect="1"/>
                    </p:cNvPicPr>
                    <p:nvPr/>
                  </p:nvPicPr>
                  <p:blipFill>
                    <a:blip r:embed="rId50" cstate="print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rcRect/>
                    <a:stretch>
                      <a:fillRect/>
                    </a:stretch>
                  </p:blipFill>
                  <p:spPr bwMode="auto">
                    <a:xfrm>
                      <a:off x="10755293" y="1282976"/>
                      <a:ext cx="245301" cy="317091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</p:pic>
              </p:grpSp>
              <p:grpSp>
                <p:nvGrpSpPr>
                  <p:cNvPr id="8" name="Group 7"/>
                  <p:cNvGrpSpPr/>
                  <p:nvPr userDrawn="1"/>
                </p:nvGrpSpPr>
                <p:grpSpPr>
                  <a:xfrm>
                    <a:off x="10737716" y="2524534"/>
                    <a:ext cx="1058300" cy="301625"/>
                    <a:chOff x="10737716" y="2349114"/>
                    <a:chExt cx="1058300" cy="301625"/>
                  </a:xfrm>
                </p:grpSpPr>
                <p:sp>
                  <p:nvSpPr>
                    <p:cNvPr id="309" name="TextBox 308"/>
                    <p:cNvSpPr txBox="1"/>
                    <p:nvPr/>
                  </p:nvSpPr>
                  <p:spPr bwMode="auto">
                    <a:xfrm>
                      <a:off x="11135616" y="2349114"/>
                      <a:ext cx="660400" cy="301625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txBody>
                    <a:bodyPr wrap="none" lIns="0" tIns="27971" rIns="0" bIns="0" anchor="ctr" anchorCtr="0"/>
                    <a:lstStyle>
                      <a:defPPr>
                        <a:defRPr lang="en-US"/>
                      </a:defPPr>
                      <a:lvl1pPr defTabSz="932317">
                        <a:lnSpc>
                          <a:spcPct val="90000"/>
                        </a:lnSpc>
                        <a:spcBef>
                          <a:spcPts val="600"/>
                        </a:spcBef>
                        <a:defRPr sz="1000">
                          <a:gradFill>
                            <a:gsLst>
                              <a:gs pos="76250">
                                <a:schemeClr val="bg1"/>
                              </a:gs>
                              <a:gs pos="31000">
                                <a:schemeClr val="bg1"/>
                              </a:gs>
                            </a:gsLst>
                            <a:lin ang="5400000" scaled="0"/>
                          </a:gradFill>
                          <a:latin typeface="+mn-lt"/>
                          <a:ea typeface="Arial Unicode MS" panose="020B0604020202020204" pitchFamily="34" charset="-128"/>
                          <a:cs typeface="Segoe UI Light" panose="020B0502040204020203" pitchFamily="34" charset="0"/>
                        </a:defRPr>
                      </a:lvl1pPr>
                    </a:lstStyle>
                    <a:p>
                      <a:pPr marL="0" marR="0" lvl="0" indent="0" defTabSz="913950" eaLnBrk="0" fontAlgn="base" latinLnBrk="0" hangingPunct="0">
                        <a:lnSpc>
                          <a:spcPct val="90000"/>
                        </a:lnSpc>
                        <a:spcBef>
                          <a:spcPts val="588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80" b="0" i="0" u="none" strike="noStrike" kern="0" cap="none" spc="0" normalizeH="0" baseline="0" noProof="0" dirty="0">
                          <a:ln>
                            <a:noFill/>
                          </a:ln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Arial Unicode MS" panose="020B0604020202020204" pitchFamily="34" charset="-128"/>
                          <a:cs typeface="Segoe UI Light" panose="020B0502040204020203" pitchFamily="34" charset="0"/>
                        </a:rPr>
                        <a:t>Operational</a:t>
                      </a:r>
                      <a:br>
                        <a:rPr kumimoji="0" lang="en-US" sz="980" b="0" i="0" u="none" strike="noStrike" kern="0" cap="none" spc="0" normalizeH="0" baseline="0" noProof="0" dirty="0">
                          <a:ln>
                            <a:noFill/>
                          </a:ln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Arial Unicode MS" panose="020B0604020202020204" pitchFamily="34" charset="-128"/>
                          <a:cs typeface="Segoe UI Light" panose="020B0502040204020203" pitchFamily="34" charset="0"/>
                        </a:rPr>
                      </a:br>
                      <a:r>
                        <a:rPr kumimoji="0" lang="en-US" sz="980" b="0" i="0" u="none" strike="noStrike" kern="0" cap="none" spc="0" normalizeH="0" baseline="0" noProof="0" dirty="0">
                          <a:ln>
                            <a:noFill/>
                          </a:ln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Arial Unicode MS" panose="020B0604020202020204" pitchFamily="34" charset="-128"/>
                          <a:cs typeface="Segoe UI Light" panose="020B0502040204020203" pitchFamily="34" charset="0"/>
                        </a:rPr>
                        <a:t>Insights</a:t>
                      </a:r>
                    </a:p>
                  </p:txBody>
                </p:sp>
                <p:pic>
                  <p:nvPicPr>
                    <p:cNvPr id="310" name="Picture 329" descr="Operational Insights.png"/>
                    <p:cNvPicPr>
                      <a:picLocks noChangeAspect="1"/>
                    </p:cNvPicPr>
                    <p:nvPr/>
                  </p:nvPicPr>
                  <p:blipFill>
                    <a:blip r:embed="rId51" cstate="print">
                      <a:biLevel thresh="25000"/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rcRect/>
                    <a:stretch>
                      <a:fillRect/>
                    </a:stretch>
                  </p:blipFill>
                  <p:spPr bwMode="auto">
                    <a:xfrm>
                      <a:off x="10737716" y="2349114"/>
                      <a:ext cx="280454" cy="280549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</p:pic>
              </p:grpSp>
              <p:grpSp>
                <p:nvGrpSpPr>
                  <p:cNvPr id="6" name="Group 5"/>
                  <p:cNvGrpSpPr/>
                  <p:nvPr userDrawn="1"/>
                </p:nvGrpSpPr>
                <p:grpSpPr>
                  <a:xfrm>
                    <a:off x="10731079" y="1170330"/>
                    <a:ext cx="1063349" cy="300038"/>
                    <a:chOff x="10731079" y="777857"/>
                    <a:chExt cx="1063349" cy="300038"/>
                  </a:xfrm>
                </p:grpSpPr>
                <p:sp>
                  <p:nvSpPr>
                    <p:cNvPr id="299" name="TextBox 298"/>
                    <p:cNvSpPr txBox="1"/>
                    <p:nvPr/>
                  </p:nvSpPr>
                  <p:spPr bwMode="auto">
                    <a:xfrm>
                      <a:off x="11135616" y="777857"/>
                      <a:ext cx="658812" cy="300038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txBody>
                    <a:bodyPr wrap="none" lIns="0" tIns="27971" rIns="0" bIns="0" anchor="ctr" anchorCtr="0"/>
                    <a:lstStyle>
                      <a:defPPr>
                        <a:defRPr lang="en-US"/>
                      </a:defPPr>
                      <a:lvl1pPr defTabSz="932317">
                        <a:lnSpc>
                          <a:spcPct val="90000"/>
                        </a:lnSpc>
                        <a:spcBef>
                          <a:spcPts val="600"/>
                        </a:spcBef>
                        <a:defRPr sz="1000">
                          <a:gradFill>
                            <a:gsLst>
                              <a:gs pos="76250">
                                <a:schemeClr val="bg1"/>
                              </a:gs>
                              <a:gs pos="31000">
                                <a:schemeClr val="bg1"/>
                              </a:gs>
                            </a:gsLst>
                            <a:lin ang="5400000" scaled="0"/>
                          </a:gradFill>
                          <a:latin typeface="+mn-lt"/>
                          <a:ea typeface="Arial Unicode MS" panose="020B0604020202020204" pitchFamily="34" charset="-128"/>
                          <a:cs typeface="Segoe UI Light" panose="020B0502040204020203" pitchFamily="34" charset="0"/>
                        </a:defRPr>
                      </a:lvl1pPr>
                    </a:lstStyle>
                    <a:p>
                      <a:pPr marL="0" marR="0" lvl="0" indent="0" defTabSz="913950" eaLnBrk="0" fontAlgn="base" latinLnBrk="0" hangingPunct="0">
                        <a:lnSpc>
                          <a:spcPct val="90000"/>
                        </a:lnSpc>
                        <a:spcBef>
                          <a:spcPts val="588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80" b="0" i="0" u="none" strike="noStrike" kern="0" cap="none" spc="0" normalizeH="0" baseline="0" noProof="0" dirty="0">
                          <a:ln>
                            <a:noFill/>
                          </a:ln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Arial Unicode MS" panose="020B0604020202020204" pitchFamily="34" charset="-128"/>
                          <a:cs typeface="Segoe UI Light" panose="020B0502040204020203" pitchFamily="34" charset="0"/>
                        </a:rPr>
                        <a:t>Azure AD </a:t>
                      </a:r>
                      <a:br>
                        <a:rPr kumimoji="0" lang="en-US" sz="980" b="0" i="0" u="none" strike="noStrike" kern="0" cap="none" spc="0" normalizeH="0" baseline="0" noProof="0" dirty="0">
                          <a:ln>
                            <a:noFill/>
                          </a:ln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Arial Unicode MS" panose="020B0604020202020204" pitchFamily="34" charset="-128"/>
                          <a:cs typeface="Segoe UI Light" panose="020B0502040204020203" pitchFamily="34" charset="0"/>
                        </a:rPr>
                      </a:br>
                      <a:r>
                        <a:rPr kumimoji="0" lang="en-US" sz="980" b="0" i="0" u="none" strike="noStrike" kern="0" cap="none" spc="0" normalizeH="0" baseline="0" noProof="0" dirty="0">
                          <a:ln>
                            <a:noFill/>
                          </a:ln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Arial Unicode MS" panose="020B0604020202020204" pitchFamily="34" charset="-128"/>
                          <a:cs typeface="Segoe UI Light" panose="020B0502040204020203" pitchFamily="34" charset="0"/>
                        </a:rPr>
                        <a:t>Connect Health</a:t>
                      </a:r>
                    </a:p>
                  </p:txBody>
                </p:sp>
                <p:grpSp>
                  <p:nvGrpSpPr>
                    <p:cNvPr id="300" name="Group 228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10731079" y="777857"/>
                      <a:ext cx="293729" cy="278603"/>
                      <a:chOff x="10757647" y="1125048"/>
                      <a:chExt cx="293741" cy="279390"/>
                    </a:xfrm>
                  </p:grpSpPr>
                  <p:pic>
                    <p:nvPicPr>
                      <p:cNvPr id="301" name="Picture 221" descr="Azure Active Directory.png"/>
                      <p:cNvPicPr>
                        <a:picLocks noChangeAspect="1"/>
                      </p:cNvPicPr>
                      <p:nvPr/>
                    </p:nvPicPr>
                    <p:blipFill>
                      <a:blip r:embed="rId40" cstate="print">
                        <a:biLevel thresh="25000"/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0757647" y="1125048"/>
                        <a:ext cx="262077" cy="26207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  <p:sp>
                    <p:nvSpPr>
                      <p:cNvPr id="302" name="Heart 301"/>
                      <p:cNvSpPr/>
                      <p:nvPr/>
                    </p:nvSpPr>
                    <p:spPr bwMode="auto">
                      <a:xfrm>
                        <a:off x="10905290" y="1274695"/>
                        <a:ext cx="146056" cy="128950"/>
                      </a:xfrm>
                      <a:prstGeom prst="heart">
                        <a:avLst/>
                      </a:prstGeom>
                      <a:solidFill>
                        <a:srgbClr val="FFFFFF"/>
                      </a:solidFill>
                      <a:ln w="12700" cap="flat" cmpd="sng" algn="ctr">
                        <a:solidFill>
                          <a:srgbClr val="005695"/>
                        </a:solidFill>
                        <a:prstDash val="solid"/>
                        <a:headEnd type="none" w="med" len="med"/>
                        <a:tailEnd type="none" w="med" len="med"/>
                      </a:ln>
                      <a:effectLst/>
                    </p:spPr>
                    <p:txBody>
                      <a:bodyPr lIns="182880" tIns="146304" rIns="182880" bIns="146304"/>
                      <a:lstStyle/>
                      <a:p>
                        <a:pPr marL="0" marR="0" lvl="0" indent="0" algn="ctr" defTabSz="914102" eaLnBrk="1" fontAlgn="base" latinLnBrk="0" hangingPunct="1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961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Segoe UI Light"/>
                          <a:ea typeface="Segoe UI" pitchFamily="34" charset="0"/>
                          <a:cs typeface="Segoe UI" pitchFamily="34" charset="0"/>
                        </a:endParaRPr>
                      </a:p>
                    </p:txBody>
                  </p:sp>
                  <p:grpSp>
                    <p:nvGrpSpPr>
                      <p:cNvPr id="303" name="Group 21"/>
                      <p:cNvGrpSpPr>
                        <a:grpSpLocks/>
                      </p:cNvGrpSpPr>
                      <p:nvPr/>
                    </p:nvGrpSpPr>
                    <p:grpSpPr bwMode="auto">
                      <a:xfrm>
                        <a:off x="10911015" y="1312918"/>
                        <a:ext cx="107890" cy="50915"/>
                        <a:chOff x="11033154" y="1382736"/>
                        <a:chExt cx="155481" cy="72283"/>
                      </a:xfrm>
                    </p:grpSpPr>
                    <p:cxnSp>
                      <p:nvCxnSpPr>
                        <p:cNvPr id="304" name="Straight Connector 303"/>
                        <p:cNvCxnSpPr/>
                        <p:nvPr/>
                      </p:nvCxnSpPr>
                      <p:spPr>
                        <a:xfrm flipV="1">
                          <a:off x="11034055" y="1414354"/>
                          <a:ext cx="50333" cy="0"/>
                        </a:xfrm>
                        <a:prstGeom prst="line">
                          <a:avLst/>
                        </a:prstGeom>
                        <a:noFill/>
                        <a:ln w="9525" cap="flat" cmpd="sng" algn="ctr">
                          <a:solidFill>
                            <a:srgbClr val="005695"/>
                          </a:solidFill>
                          <a:prstDash val="solid"/>
                          <a:headEnd type="none"/>
                          <a:tailEnd type="none"/>
                        </a:ln>
                        <a:effectLst/>
                      </p:spPr>
                    </p:cxnSp>
                    <p:cxnSp>
                      <p:nvCxnSpPr>
                        <p:cNvPr id="305" name="Straight Connector 304"/>
                        <p:cNvCxnSpPr/>
                        <p:nvPr/>
                      </p:nvCxnSpPr>
                      <p:spPr>
                        <a:xfrm flipV="1">
                          <a:off x="11139295" y="1418875"/>
                          <a:ext cx="50333" cy="0"/>
                        </a:xfrm>
                        <a:prstGeom prst="line">
                          <a:avLst/>
                        </a:prstGeom>
                        <a:noFill/>
                        <a:ln w="9525" cap="flat" cmpd="sng" algn="ctr">
                          <a:solidFill>
                            <a:srgbClr val="005695"/>
                          </a:solidFill>
                          <a:prstDash val="solid"/>
                          <a:headEnd type="none"/>
                          <a:tailEnd type="none"/>
                        </a:ln>
                        <a:effectLst/>
                      </p:spPr>
                    </p:cxnSp>
                    <p:cxnSp>
                      <p:nvCxnSpPr>
                        <p:cNvPr id="306" name="Straight Connector 305"/>
                        <p:cNvCxnSpPr/>
                        <p:nvPr/>
                      </p:nvCxnSpPr>
                      <p:spPr>
                        <a:xfrm>
                          <a:off x="11114130" y="1382713"/>
                          <a:ext cx="0" cy="70062"/>
                        </a:xfrm>
                        <a:prstGeom prst="line">
                          <a:avLst/>
                        </a:prstGeom>
                        <a:noFill/>
                        <a:ln w="9525" cap="flat" cmpd="sng" algn="ctr">
                          <a:solidFill>
                            <a:srgbClr val="005695"/>
                          </a:solidFill>
                          <a:prstDash val="solid"/>
                          <a:headEnd type="none"/>
                          <a:tailEnd type="none"/>
                        </a:ln>
                        <a:effectLst/>
                      </p:spPr>
                    </p:cxnSp>
                    <p:cxnSp>
                      <p:nvCxnSpPr>
                        <p:cNvPr id="307" name="Straight Connector 306"/>
                        <p:cNvCxnSpPr/>
                        <p:nvPr/>
                      </p:nvCxnSpPr>
                      <p:spPr>
                        <a:xfrm flipV="1">
                          <a:off x="11082100" y="1387233"/>
                          <a:ext cx="25166" cy="27121"/>
                        </a:xfrm>
                        <a:prstGeom prst="line">
                          <a:avLst/>
                        </a:prstGeom>
                        <a:noFill/>
                        <a:ln w="9525" cap="flat" cmpd="sng" algn="ctr">
                          <a:solidFill>
                            <a:srgbClr val="005695"/>
                          </a:solidFill>
                          <a:prstDash val="solid"/>
                          <a:headEnd type="none"/>
                          <a:tailEnd type="none"/>
                        </a:ln>
                        <a:effectLst/>
                      </p:spPr>
                    </p:cxnSp>
                    <p:cxnSp>
                      <p:nvCxnSpPr>
                        <p:cNvPr id="308" name="Straight Connector 307"/>
                        <p:cNvCxnSpPr/>
                        <p:nvPr/>
                      </p:nvCxnSpPr>
                      <p:spPr>
                        <a:xfrm flipV="1">
                          <a:off x="11107266" y="1418875"/>
                          <a:ext cx="34318" cy="36161"/>
                        </a:xfrm>
                        <a:prstGeom prst="line">
                          <a:avLst/>
                        </a:prstGeom>
                        <a:noFill/>
                        <a:ln w="9525" cap="flat" cmpd="sng" algn="ctr">
                          <a:solidFill>
                            <a:srgbClr val="005695"/>
                          </a:solidFill>
                          <a:prstDash val="solid"/>
                          <a:headEnd type="none"/>
                          <a:tailEnd type="none"/>
                        </a:ln>
                        <a:effectLst/>
                      </p:spPr>
                    </p:cxnSp>
                  </p:grpSp>
                </p:grpSp>
              </p:grpSp>
              <p:grpSp>
                <p:nvGrpSpPr>
                  <p:cNvPr id="11" name="Group 10"/>
                  <p:cNvGrpSpPr/>
                  <p:nvPr userDrawn="1"/>
                </p:nvGrpSpPr>
                <p:grpSpPr>
                  <a:xfrm>
                    <a:off x="10734275" y="3864860"/>
                    <a:ext cx="1060154" cy="301625"/>
                    <a:chOff x="10734275" y="3881794"/>
                    <a:chExt cx="1060154" cy="301625"/>
                  </a:xfrm>
                </p:grpSpPr>
                <p:sp>
                  <p:nvSpPr>
                    <p:cNvPr id="297" name="TextBox 296"/>
                    <p:cNvSpPr txBox="1"/>
                    <p:nvPr/>
                  </p:nvSpPr>
                  <p:spPr>
                    <a:xfrm>
                      <a:off x="11135616" y="3881794"/>
                      <a:ext cx="658813" cy="301625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txBody>
                    <a:bodyPr wrap="none" lIns="0" tIns="27971" rIns="0" bIns="0" anchor="ctr" anchorCtr="0"/>
                    <a:lstStyle>
                      <a:defPPr>
                        <a:defRPr lang="en-US"/>
                      </a:defPPr>
                      <a:lvl1pPr defTabSz="932317">
                        <a:lnSpc>
                          <a:spcPct val="90000"/>
                        </a:lnSpc>
                        <a:spcBef>
                          <a:spcPts val="600"/>
                        </a:spcBef>
                        <a:defRPr sz="1000">
                          <a:gradFill>
                            <a:gsLst>
                              <a:gs pos="76250">
                                <a:schemeClr val="bg1"/>
                              </a:gs>
                              <a:gs pos="31000">
                                <a:schemeClr val="bg1"/>
                              </a:gs>
                            </a:gsLst>
                            <a:lin ang="5400000" scaled="0"/>
                          </a:gradFill>
                          <a:latin typeface="+mn-lt"/>
                          <a:ea typeface="Arial Unicode MS" panose="020B0604020202020204" pitchFamily="34" charset="-128"/>
                          <a:cs typeface="Segoe UI Light" panose="020B0502040204020203" pitchFamily="34" charset="0"/>
                        </a:defRPr>
                      </a:lvl1pPr>
                    </a:lstStyle>
                    <a:p>
                      <a:pPr marL="0" marR="0" lvl="0" indent="0" defTabSz="913950" eaLnBrk="0" fontAlgn="base" latinLnBrk="0" hangingPunct="0">
                        <a:lnSpc>
                          <a:spcPct val="90000"/>
                        </a:lnSpc>
                        <a:spcBef>
                          <a:spcPts val="588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80" b="0" i="0" u="none" strike="noStrike" kern="0" cap="none" spc="0" normalizeH="0" baseline="0" noProof="0" dirty="0" err="1">
                          <a:ln>
                            <a:noFill/>
                          </a:ln>
                          <a:gradFill>
                            <a:gsLst>
                              <a:gs pos="76250">
                                <a:srgbClr val="FFFFFF"/>
                              </a:gs>
                              <a:gs pos="31000">
                                <a:srgbClr val="FFFFFF"/>
                              </a:gs>
                            </a:gsLst>
                            <a:lin ang="5400000" scaled="0"/>
                          </a:gradFill>
                          <a:effectLst/>
                          <a:uLnTx/>
                          <a:uFillTx/>
                          <a:latin typeface="Segoe UI"/>
                          <a:ea typeface="Arial Unicode MS" panose="020B0604020202020204" pitchFamily="34" charset="-128"/>
                          <a:cs typeface="Segoe UI Light" panose="020B0502040204020203" pitchFamily="34" charset="0"/>
                        </a:rPr>
                        <a:t>StorSimple</a:t>
                      </a:r>
                      <a:endParaRPr kumimoji="0" lang="en-US" sz="980" b="0" i="0" u="none" strike="noStrike" kern="0" cap="none" spc="0" normalizeH="0" baseline="0" noProof="0" dirty="0">
                        <a:ln>
                          <a:noFill/>
                        </a:ln>
                        <a:gradFill>
                          <a:gsLst>
                            <a:gs pos="76250">
                              <a:srgbClr val="FFFFFF"/>
                            </a:gs>
                            <a:gs pos="31000">
                              <a:srgbClr val="FFFFFF"/>
                            </a:gs>
                          </a:gsLst>
                          <a:lin ang="5400000" scaled="0"/>
                        </a:gradFill>
                        <a:effectLst/>
                        <a:uLnTx/>
                        <a:uFillTx/>
                        <a:latin typeface="Segoe UI"/>
                        <a:ea typeface="Arial Unicode MS" panose="020B0604020202020204" pitchFamily="34" charset="-128"/>
                        <a:cs typeface="Segoe UI Light" panose="020B0502040204020203" pitchFamily="34" charset="0"/>
                      </a:endParaRPr>
                    </a:p>
                  </p:txBody>
                </p:sp>
                <p:pic>
                  <p:nvPicPr>
                    <p:cNvPr id="298" name="Picture 208" descr="StorSimple.png"/>
                    <p:cNvPicPr>
                      <a:picLocks noChangeAspect="1"/>
                    </p:cNvPicPr>
                    <p:nvPr/>
                  </p:nvPicPr>
                  <p:blipFill>
                    <a:blip r:embed="rId52" cstate="print">
                      <a:biLevel thresh="25000"/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rcRect/>
                    <a:stretch>
                      <a:fillRect/>
                    </a:stretch>
                  </p:blipFill>
                  <p:spPr bwMode="auto">
                    <a:xfrm>
                      <a:off x="10734275" y="3881794"/>
                      <a:ext cx="287337" cy="287337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</p:pic>
              </p:grpSp>
            </p:grpSp>
          </p:grpSp>
        </p:grpSp>
        <p:sp>
          <p:nvSpPr>
            <p:cNvPr id="265" name="Rectangle 264"/>
            <p:cNvSpPr/>
            <p:nvPr/>
          </p:nvSpPr>
          <p:spPr bwMode="auto">
            <a:xfrm>
              <a:off x="-102722" y="5682116"/>
              <a:ext cx="12641920" cy="1282663"/>
            </a:xfrm>
            <a:prstGeom prst="rect">
              <a:avLst/>
            </a:prstGeom>
            <a:solidFill>
              <a:srgbClr val="002846"/>
            </a:solidFill>
            <a:ln w="635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lIns="179285" tIns="91440" rIns="179285" bIns="143428"/>
            <a:lstStyle/>
            <a:p>
              <a:pPr marL="0" marR="0" lvl="0" indent="0" algn="ctr" defTabSz="895923" eaLnBrk="1" fontAlgn="base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72" b="0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76250">
                        <a:srgbClr val="FFFFFF"/>
                      </a:gs>
                      <a:gs pos="31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bold" panose="020B0702040204020203" pitchFamily="34" charset="0"/>
                  <a:ea typeface="Segoe UI" pitchFamily="34" charset="0"/>
                  <a:cs typeface="Segoe UI Semibold" panose="020B0702040204020203" pitchFamily="34" charset="0"/>
                </a:rPr>
                <a:t>Datacenter Infrastructure (24 regions, 19 online)</a:t>
              </a:r>
            </a:p>
          </p:txBody>
        </p:sp>
        <p:grpSp>
          <p:nvGrpSpPr>
            <p:cNvPr id="266" name="Group 265"/>
            <p:cNvGrpSpPr/>
            <p:nvPr/>
          </p:nvGrpSpPr>
          <p:grpSpPr>
            <a:xfrm>
              <a:off x="-237835" y="6137034"/>
              <a:ext cx="12912145" cy="841365"/>
              <a:chOff x="-19051" y="6476517"/>
              <a:chExt cx="12493626" cy="693589"/>
            </a:xfrm>
          </p:grpSpPr>
          <p:pic>
            <p:nvPicPr>
              <p:cNvPr id="267" name="Picture 2"/>
              <p:cNvPicPr>
                <a:picLocks noChangeAspect="1"/>
              </p:cNvPicPr>
              <p:nvPr/>
            </p:nvPicPr>
            <p:blipFill>
              <a:blip r:embed="rId53" cstate="print">
                <a:duotone>
                  <a:srgbClr val="D2D2D2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546258" y="6476517"/>
                <a:ext cx="758339" cy="6935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68" name="Picture 44"/>
              <p:cNvPicPr>
                <a:picLocks noChangeAspect="1"/>
              </p:cNvPicPr>
              <p:nvPr/>
            </p:nvPicPr>
            <p:blipFill>
              <a:blip r:embed="rId53" cstate="print">
                <a:duotone>
                  <a:srgbClr val="D2D2D2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328913" y="6476517"/>
                <a:ext cx="758339" cy="6935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69" name="Picture 45"/>
              <p:cNvPicPr>
                <a:picLocks noChangeAspect="1"/>
              </p:cNvPicPr>
              <p:nvPr/>
            </p:nvPicPr>
            <p:blipFill>
              <a:blip r:embed="rId53" cstate="print">
                <a:duotone>
                  <a:srgbClr val="D2D2D2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111567" y="6476517"/>
                <a:ext cx="758339" cy="6935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70" name="Picture 46"/>
              <p:cNvPicPr>
                <a:picLocks noChangeAspect="1"/>
              </p:cNvPicPr>
              <p:nvPr/>
            </p:nvPicPr>
            <p:blipFill>
              <a:blip r:embed="rId53" cstate="print">
                <a:duotone>
                  <a:srgbClr val="D2D2D2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889691" y="6476517"/>
                <a:ext cx="758339" cy="6935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71" name="Picture 47"/>
              <p:cNvPicPr>
                <a:picLocks noChangeAspect="1"/>
              </p:cNvPicPr>
              <p:nvPr/>
            </p:nvPicPr>
            <p:blipFill>
              <a:blip r:embed="rId53" cstate="print">
                <a:duotone>
                  <a:srgbClr val="D2D2D2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672345" y="6476517"/>
                <a:ext cx="758339" cy="6935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72" name="Picture 48"/>
              <p:cNvPicPr>
                <a:picLocks noChangeAspect="1"/>
              </p:cNvPicPr>
              <p:nvPr/>
            </p:nvPicPr>
            <p:blipFill>
              <a:blip r:embed="rId53" cstate="print">
                <a:duotone>
                  <a:srgbClr val="D2D2D2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455000" y="6476517"/>
                <a:ext cx="758339" cy="6935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73" name="Picture 49"/>
              <p:cNvPicPr>
                <a:picLocks noChangeAspect="1"/>
              </p:cNvPicPr>
              <p:nvPr/>
            </p:nvPicPr>
            <p:blipFill>
              <a:blip r:embed="rId53" cstate="print">
                <a:duotone>
                  <a:srgbClr val="D2D2D2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237654" y="6476517"/>
                <a:ext cx="758339" cy="6935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74" name="Picture 50"/>
              <p:cNvPicPr>
                <a:picLocks noChangeAspect="1"/>
              </p:cNvPicPr>
              <p:nvPr/>
            </p:nvPicPr>
            <p:blipFill>
              <a:blip r:embed="rId53" cstate="print">
                <a:duotone>
                  <a:srgbClr val="D2D2D2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020309" y="6476517"/>
                <a:ext cx="758339" cy="6935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75" name="Picture 51"/>
              <p:cNvPicPr>
                <a:picLocks noChangeAspect="1"/>
              </p:cNvPicPr>
              <p:nvPr/>
            </p:nvPicPr>
            <p:blipFill>
              <a:blip r:embed="rId53" cstate="print">
                <a:duotone>
                  <a:srgbClr val="D2D2D2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802963" y="6476517"/>
                <a:ext cx="758339" cy="6935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76" name="Picture 52"/>
              <p:cNvPicPr>
                <a:picLocks noChangeAspect="1"/>
              </p:cNvPicPr>
              <p:nvPr/>
            </p:nvPicPr>
            <p:blipFill>
              <a:blip r:embed="rId53" cstate="print">
                <a:duotone>
                  <a:srgbClr val="D2D2D2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585618" y="6476517"/>
                <a:ext cx="758339" cy="6935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77" name="Picture 53"/>
              <p:cNvPicPr>
                <a:picLocks noChangeAspect="1"/>
              </p:cNvPicPr>
              <p:nvPr/>
            </p:nvPicPr>
            <p:blipFill>
              <a:blip r:embed="rId53" cstate="print">
                <a:duotone>
                  <a:srgbClr val="D2D2D2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368272" y="6476517"/>
                <a:ext cx="758339" cy="6935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78" name="Picture 54"/>
              <p:cNvPicPr>
                <a:picLocks noChangeAspect="1"/>
              </p:cNvPicPr>
              <p:nvPr/>
            </p:nvPicPr>
            <p:blipFill>
              <a:blip r:embed="rId53" cstate="print">
                <a:duotone>
                  <a:srgbClr val="D2D2D2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150927" y="6476517"/>
                <a:ext cx="758339" cy="6935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79" name="Picture 56"/>
              <p:cNvPicPr>
                <a:picLocks noChangeAspect="1"/>
              </p:cNvPicPr>
              <p:nvPr/>
            </p:nvPicPr>
            <p:blipFill>
              <a:blip r:embed="rId53" cstate="print">
                <a:duotone>
                  <a:srgbClr val="D2D2D2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933581" y="6476517"/>
                <a:ext cx="758339" cy="6935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80" name="Picture 57"/>
              <p:cNvPicPr>
                <a:picLocks noChangeAspect="1"/>
              </p:cNvPicPr>
              <p:nvPr/>
            </p:nvPicPr>
            <p:blipFill>
              <a:blip r:embed="rId53" cstate="print">
                <a:duotone>
                  <a:srgbClr val="D2D2D2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1716236" y="6476517"/>
                <a:ext cx="758339" cy="6935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81" name="Picture 58"/>
              <p:cNvPicPr>
                <a:picLocks noChangeAspect="1"/>
              </p:cNvPicPr>
              <p:nvPr/>
            </p:nvPicPr>
            <p:blipFill>
              <a:blip r:embed="rId53" cstate="print">
                <a:duotone>
                  <a:srgbClr val="D2D2D2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19051" y="6476517"/>
                <a:ext cx="758339" cy="6935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82" name="Picture 59"/>
              <p:cNvPicPr>
                <a:picLocks noChangeAspect="1"/>
              </p:cNvPicPr>
              <p:nvPr/>
            </p:nvPicPr>
            <p:blipFill>
              <a:blip r:embed="rId53" cstate="print">
                <a:duotone>
                  <a:srgbClr val="D2D2D2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63604" y="6476517"/>
                <a:ext cx="758339" cy="6935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</p:spTree>
    <p:extLst>
      <p:ext uri="{BB962C8B-B14F-4D97-AF65-F5344CB8AC3E}">
        <p14:creationId xmlns:p14="http://schemas.microsoft.com/office/powerpoint/2010/main" val="3638729660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 Layout_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71684" y="2084173"/>
            <a:ext cx="8058229" cy="1793104"/>
          </a:xfrm>
        </p:spPr>
        <p:txBody>
          <a:bodyPr/>
          <a:lstStyle>
            <a:lvl1pPr>
              <a:defRPr sz="5882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Box 7"/>
          <p:cNvSpPr txBox="1"/>
          <p:nvPr userDrawn="1"/>
        </p:nvSpPr>
        <p:spPr bwMode="white">
          <a:xfrm>
            <a:off x="4367360" y="6566898"/>
            <a:ext cx="3457280" cy="15842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96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29" b="0" i="0" u="none" strike="noStrike" kern="1200" cap="none" spc="147" normalizeH="0" baseline="0" noProof="0" dirty="0">
                <a:ln>
                  <a:noFill/>
                </a:ln>
                <a:gradFill>
                  <a:gsLst>
                    <a:gs pos="0">
                      <a:srgbClr val="FFFFFF">
                        <a:alpha val="50000"/>
                      </a:srgbClr>
                    </a:gs>
                    <a:gs pos="86000">
                      <a:srgbClr val="FFFFFF">
                        <a:alpha val="5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440958046"/>
      </p:ext>
    </p:extLst>
  </p:cSld>
  <p:clrMapOvr>
    <a:masterClrMapping/>
  </p:clrMapOvr>
  <p:transition>
    <p:fade/>
  </p:transition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olumn white with bullet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189176"/>
            <a:ext cx="6274973" cy="1943393"/>
          </a:xfrm>
        </p:spPr>
        <p:txBody>
          <a:bodyPr wrap="square">
            <a:spAutoFit/>
          </a:bodyPr>
          <a:lstStyle>
            <a:lvl1pPr marL="392169" indent="-392169">
              <a:spcBef>
                <a:spcPts val="1200"/>
              </a:spcBef>
              <a:buClr>
                <a:srgbClr val="92D050"/>
              </a:buClr>
              <a:buSzPct val="100000"/>
              <a:buFont typeface="Wingdings" panose="05000000000000000000" pitchFamily="2" charset="2"/>
              <a:buChar char="ü"/>
              <a:defRPr sz="3137">
                <a:gradFill>
                  <a:gsLst>
                    <a:gs pos="7500">
                      <a:schemeClr val="bg1"/>
                    </a:gs>
                    <a:gs pos="43000">
                      <a:schemeClr val="bg1"/>
                    </a:gs>
                  </a:gsLst>
                  <a:lin ang="5400000" scaled="0"/>
                </a:gradFill>
              </a:defRPr>
            </a:lvl1pPr>
            <a:lvl2pPr marL="672290" indent="-280121">
              <a:buClr>
                <a:srgbClr val="92D050"/>
              </a:buClr>
              <a:buSzPct val="100000"/>
              <a:buFont typeface="Wingdings" panose="05000000000000000000" pitchFamily="2" charset="2"/>
              <a:buChar char="ü"/>
              <a:defRPr sz="2353">
                <a:gradFill>
                  <a:gsLst>
                    <a:gs pos="7500">
                      <a:schemeClr val="bg1"/>
                    </a:gs>
                    <a:gs pos="43000">
                      <a:schemeClr val="bg1"/>
                    </a:gs>
                  </a:gsLst>
                  <a:lin ang="5400000" scaled="0"/>
                </a:gradFill>
              </a:defRPr>
            </a:lvl2pPr>
            <a:lvl3pPr marL="684740" indent="267671">
              <a:buClr>
                <a:srgbClr val="92D050"/>
              </a:buClr>
              <a:buSzPct val="100000"/>
              <a:buFont typeface="Wingdings" panose="05000000000000000000" pitchFamily="2" charset="2"/>
              <a:buChar char="ü"/>
              <a:tabLst/>
              <a:defRPr sz="1961">
                <a:gradFill>
                  <a:gsLst>
                    <a:gs pos="7500">
                      <a:schemeClr val="bg1"/>
                    </a:gs>
                    <a:gs pos="43000">
                      <a:schemeClr val="bg1"/>
                    </a:gs>
                  </a:gsLst>
                  <a:lin ang="5400000" scaled="0"/>
                </a:gradFill>
              </a:defRPr>
            </a:lvl3pPr>
            <a:lvl4pPr marL="952410" indent="224097">
              <a:buClr>
                <a:srgbClr val="92D050"/>
              </a:buClr>
              <a:buSzPct val="100000"/>
              <a:buFont typeface="Wingdings" panose="05000000000000000000" pitchFamily="2" charset="2"/>
              <a:buChar char="ü"/>
              <a:defRPr>
                <a:gradFill>
                  <a:gsLst>
                    <a:gs pos="7500">
                      <a:schemeClr val="bg1"/>
                    </a:gs>
                    <a:gs pos="43000">
                      <a:schemeClr val="bg1"/>
                    </a:gs>
                  </a:gsLst>
                  <a:lin ang="5400000" scaled="0"/>
                </a:gradFill>
              </a:defRPr>
            </a:lvl4pPr>
            <a:lvl5pPr marL="1176507" indent="-224097">
              <a:buClr>
                <a:srgbClr val="92D050"/>
              </a:buClr>
              <a:buSzPct val="100000"/>
              <a:buFont typeface="Wingdings" panose="05000000000000000000" pitchFamily="2" charset="2"/>
              <a:buChar char="ü"/>
              <a:tabLst/>
              <a:defRPr>
                <a:gradFill>
                  <a:gsLst>
                    <a:gs pos="7500">
                      <a:schemeClr val="bg1"/>
                    </a:gs>
                    <a:gs pos="43000">
                      <a:schemeClr val="bg1"/>
                    </a:gs>
                  </a:gsLst>
                  <a:lin ang="5400000" scaled="0"/>
                </a:gra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Rectangle 5"/>
          <p:cNvSpPr/>
          <p:nvPr userDrawn="1"/>
        </p:nvSpPr>
        <p:spPr>
          <a:xfrm>
            <a:off x="1557" y="5222104"/>
            <a:ext cx="12190443" cy="1635896"/>
          </a:xfrm>
          <a:prstGeom prst="rect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36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765"/>
          </a:p>
        </p:txBody>
      </p:sp>
      <p:sp>
        <p:nvSpPr>
          <p:cNvPr id="8" name="Freeform 99"/>
          <p:cNvSpPr>
            <a:spLocks noChangeAspect="1"/>
          </p:cNvSpPr>
          <p:nvPr userDrawn="1"/>
        </p:nvSpPr>
        <p:spPr bwMode="black">
          <a:xfrm>
            <a:off x="474670" y="5491047"/>
            <a:ext cx="564934" cy="414033"/>
          </a:xfrm>
          <a:custGeom>
            <a:avLst/>
            <a:gdLst>
              <a:gd name="T0" fmla="*/ 86 w 131"/>
              <a:gd name="T1" fmla="*/ 35 h 96"/>
              <a:gd name="T2" fmla="*/ 48 w 131"/>
              <a:gd name="T3" fmla="*/ 0 h 96"/>
              <a:gd name="T4" fmla="*/ 79 w 131"/>
              <a:gd name="T5" fmla="*/ 0 h 96"/>
              <a:gd name="T6" fmla="*/ 131 w 131"/>
              <a:gd name="T7" fmla="*/ 48 h 96"/>
              <a:gd name="T8" fmla="*/ 79 w 131"/>
              <a:gd name="T9" fmla="*/ 96 h 96"/>
              <a:gd name="T10" fmla="*/ 48 w 131"/>
              <a:gd name="T11" fmla="*/ 96 h 96"/>
              <a:gd name="T12" fmla="*/ 86 w 131"/>
              <a:gd name="T13" fmla="*/ 60 h 96"/>
              <a:gd name="T14" fmla="*/ 0 w 131"/>
              <a:gd name="T15" fmla="*/ 60 h 96"/>
              <a:gd name="T16" fmla="*/ 0 w 131"/>
              <a:gd name="T17" fmla="*/ 35 h 96"/>
              <a:gd name="T18" fmla="*/ 86 w 131"/>
              <a:gd name="T19" fmla="*/ 35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31" h="96">
                <a:moveTo>
                  <a:pt x="86" y="35"/>
                </a:moveTo>
                <a:lnTo>
                  <a:pt x="48" y="0"/>
                </a:lnTo>
                <a:lnTo>
                  <a:pt x="79" y="0"/>
                </a:lnTo>
                <a:lnTo>
                  <a:pt x="131" y="48"/>
                </a:lnTo>
                <a:lnTo>
                  <a:pt x="79" y="96"/>
                </a:lnTo>
                <a:lnTo>
                  <a:pt x="48" y="96"/>
                </a:lnTo>
                <a:lnTo>
                  <a:pt x="86" y="60"/>
                </a:lnTo>
                <a:lnTo>
                  <a:pt x="0" y="60"/>
                </a:lnTo>
                <a:lnTo>
                  <a:pt x="0" y="35"/>
                </a:lnTo>
                <a:lnTo>
                  <a:pt x="86" y="35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lIns="68578" tIns="34288" rIns="68578" bIns="34288"/>
          <a:lstStyle/>
          <a:p>
            <a:pPr defTabSz="91436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323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grpSp>
        <p:nvGrpSpPr>
          <p:cNvPr id="9" name="Group 8"/>
          <p:cNvGrpSpPr>
            <a:grpSpLocks/>
          </p:cNvGrpSpPr>
          <p:nvPr userDrawn="1"/>
        </p:nvGrpSpPr>
        <p:grpSpPr bwMode="auto">
          <a:xfrm flipH="1">
            <a:off x="7082691" y="1905173"/>
            <a:ext cx="4228448" cy="3343392"/>
            <a:chOff x="2348247" y="1709773"/>
            <a:chExt cx="7397345" cy="5322534"/>
          </a:xfrm>
        </p:grpSpPr>
        <p:pic>
          <p:nvPicPr>
            <p:cNvPr id="10" name="Picture 34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48247" y="1709773"/>
              <a:ext cx="3209061" cy="53225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" name="Picture 35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30307" y="5211593"/>
              <a:ext cx="5615285" cy="182071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3" name="Title 1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gradFill>
                  <a:gsLst>
                    <a:gs pos="17500">
                      <a:schemeClr val="bg1"/>
                    </a:gs>
                    <a:gs pos="55000">
                      <a:schemeClr val="bg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1" hasCustomPrompt="1"/>
          </p:nvPr>
        </p:nvSpPr>
        <p:spPr>
          <a:xfrm>
            <a:off x="1039604" y="5403224"/>
            <a:ext cx="10883158" cy="615609"/>
          </a:xfrm>
        </p:spPr>
        <p:txBody>
          <a:bodyPr/>
          <a:lstStyle>
            <a:lvl1pPr marL="0" indent="0">
              <a:buFontTx/>
              <a:buNone/>
              <a:defRPr lang="en-US" sz="3137" kern="1200" spc="0" baseline="0" dirty="0" smtClean="0">
                <a:gradFill>
                  <a:gsLst>
                    <a:gs pos="15000">
                      <a:srgbClr val="1E1E1E"/>
                    </a:gs>
                    <a:gs pos="49000">
                      <a:srgbClr val="1E1E1E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Tx/>
              <a:buNone/>
              <a:tabLst/>
            </a:pPr>
            <a:r>
              <a:rPr lang="en-US" dirty="0"/>
              <a:t>Potential highlight or call to action goes here</a:t>
            </a:r>
          </a:p>
        </p:txBody>
      </p:sp>
    </p:spTree>
    <p:extLst>
      <p:ext uri="{BB962C8B-B14F-4D97-AF65-F5344CB8AC3E}">
        <p14:creationId xmlns:p14="http://schemas.microsoft.com/office/powerpoint/2010/main" val="75918429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olumn Blue with bullet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189176"/>
            <a:ext cx="6274973" cy="1943393"/>
          </a:xfrm>
        </p:spPr>
        <p:txBody>
          <a:bodyPr wrap="square">
            <a:spAutoFit/>
          </a:bodyPr>
          <a:lstStyle>
            <a:lvl1pPr marL="392169" indent="-392169">
              <a:spcBef>
                <a:spcPts val="1200"/>
              </a:spcBef>
              <a:buClr>
                <a:srgbClr val="92D050"/>
              </a:buClr>
              <a:buSzPct val="100000"/>
              <a:buFont typeface="Wingdings" panose="05000000000000000000" pitchFamily="2" charset="2"/>
              <a:buChar char="ü"/>
              <a:defRPr sz="3137">
                <a:gradFill>
                  <a:gsLst>
                    <a:gs pos="82500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</a:defRPr>
            </a:lvl1pPr>
            <a:lvl2pPr marL="672290" indent="-280121">
              <a:buClr>
                <a:srgbClr val="92D050"/>
              </a:buClr>
              <a:buSzPct val="100000"/>
              <a:buFont typeface="Wingdings" panose="05000000000000000000" pitchFamily="2" charset="2"/>
              <a:buChar char="ü"/>
              <a:defRPr sz="2353">
                <a:gradFill>
                  <a:gsLst>
                    <a:gs pos="82500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</a:defRPr>
            </a:lvl2pPr>
            <a:lvl3pPr marL="684740" indent="267671">
              <a:buClr>
                <a:srgbClr val="92D050"/>
              </a:buClr>
              <a:buSzPct val="100000"/>
              <a:buFont typeface="Wingdings" panose="05000000000000000000" pitchFamily="2" charset="2"/>
              <a:buChar char="ü"/>
              <a:tabLst/>
              <a:defRPr sz="1961">
                <a:gradFill>
                  <a:gsLst>
                    <a:gs pos="82500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</a:defRPr>
            </a:lvl3pPr>
            <a:lvl4pPr marL="952410" indent="224097">
              <a:buClr>
                <a:srgbClr val="92D050"/>
              </a:buClr>
              <a:buSzPct val="100000"/>
              <a:buFont typeface="Wingdings" panose="05000000000000000000" pitchFamily="2" charset="2"/>
              <a:buChar char="ü"/>
              <a:defRPr>
                <a:gradFill>
                  <a:gsLst>
                    <a:gs pos="82500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</a:defRPr>
            </a:lvl4pPr>
            <a:lvl5pPr marL="1176507" indent="-224097">
              <a:buClr>
                <a:srgbClr val="92D050"/>
              </a:buClr>
              <a:buSzPct val="100000"/>
              <a:buFont typeface="Wingdings" panose="05000000000000000000" pitchFamily="2" charset="2"/>
              <a:buChar char="ü"/>
              <a:tabLst/>
              <a:defRPr>
                <a:gradFill>
                  <a:gsLst>
                    <a:gs pos="82500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Rectangle 5"/>
          <p:cNvSpPr/>
          <p:nvPr userDrawn="1"/>
        </p:nvSpPr>
        <p:spPr>
          <a:xfrm>
            <a:off x="1557" y="5222104"/>
            <a:ext cx="12190443" cy="1635896"/>
          </a:xfrm>
          <a:prstGeom prst="rect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36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765"/>
          </a:p>
        </p:txBody>
      </p:sp>
      <p:sp>
        <p:nvSpPr>
          <p:cNvPr id="8" name="Freeform 99"/>
          <p:cNvSpPr>
            <a:spLocks noChangeAspect="1"/>
          </p:cNvSpPr>
          <p:nvPr userDrawn="1"/>
        </p:nvSpPr>
        <p:spPr bwMode="black">
          <a:xfrm>
            <a:off x="474670" y="5491047"/>
            <a:ext cx="564934" cy="414033"/>
          </a:xfrm>
          <a:custGeom>
            <a:avLst/>
            <a:gdLst>
              <a:gd name="T0" fmla="*/ 86 w 131"/>
              <a:gd name="T1" fmla="*/ 35 h 96"/>
              <a:gd name="T2" fmla="*/ 48 w 131"/>
              <a:gd name="T3" fmla="*/ 0 h 96"/>
              <a:gd name="T4" fmla="*/ 79 w 131"/>
              <a:gd name="T5" fmla="*/ 0 h 96"/>
              <a:gd name="T6" fmla="*/ 131 w 131"/>
              <a:gd name="T7" fmla="*/ 48 h 96"/>
              <a:gd name="T8" fmla="*/ 79 w 131"/>
              <a:gd name="T9" fmla="*/ 96 h 96"/>
              <a:gd name="T10" fmla="*/ 48 w 131"/>
              <a:gd name="T11" fmla="*/ 96 h 96"/>
              <a:gd name="T12" fmla="*/ 86 w 131"/>
              <a:gd name="T13" fmla="*/ 60 h 96"/>
              <a:gd name="T14" fmla="*/ 0 w 131"/>
              <a:gd name="T15" fmla="*/ 60 h 96"/>
              <a:gd name="T16" fmla="*/ 0 w 131"/>
              <a:gd name="T17" fmla="*/ 35 h 96"/>
              <a:gd name="T18" fmla="*/ 86 w 131"/>
              <a:gd name="T19" fmla="*/ 35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31" h="96">
                <a:moveTo>
                  <a:pt x="86" y="35"/>
                </a:moveTo>
                <a:lnTo>
                  <a:pt x="48" y="0"/>
                </a:lnTo>
                <a:lnTo>
                  <a:pt x="79" y="0"/>
                </a:lnTo>
                <a:lnTo>
                  <a:pt x="131" y="48"/>
                </a:lnTo>
                <a:lnTo>
                  <a:pt x="79" y="96"/>
                </a:lnTo>
                <a:lnTo>
                  <a:pt x="48" y="96"/>
                </a:lnTo>
                <a:lnTo>
                  <a:pt x="86" y="60"/>
                </a:lnTo>
                <a:lnTo>
                  <a:pt x="0" y="60"/>
                </a:lnTo>
                <a:lnTo>
                  <a:pt x="0" y="35"/>
                </a:lnTo>
                <a:lnTo>
                  <a:pt x="86" y="35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lIns="68578" tIns="34288" rIns="68578" bIns="34288"/>
          <a:lstStyle/>
          <a:p>
            <a:pPr defTabSz="91436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323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grpSp>
        <p:nvGrpSpPr>
          <p:cNvPr id="9" name="Group 8"/>
          <p:cNvGrpSpPr>
            <a:grpSpLocks/>
          </p:cNvGrpSpPr>
          <p:nvPr userDrawn="1"/>
        </p:nvGrpSpPr>
        <p:grpSpPr bwMode="auto">
          <a:xfrm flipH="1">
            <a:off x="7082691" y="1905173"/>
            <a:ext cx="4228448" cy="3343392"/>
            <a:chOff x="2348247" y="1709773"/>
            <a:chExt cx="7397345" cy="5322534"/>
          </a:xfrm>
        </p:grpSpPr>
        <p:pic>
          <p:nvPicPr>
            <p:cNvPr id="10" name="Picture 34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48247" y="1709773"/>
              <a:ext cx="3209061" cy="53225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" name="Picture 35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30307" y="5211593"/>
              <a:ext cx="5615285" cy="182071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3" name="Title 1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gradFill>
                  <a:gsLst>
                    <a:gs pos="13750">
                      <a:schemeClr val="tx1"/>
                    </a:gs>
                    <a:gs pos="32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1" hasCustomPrompt="1"/>
          </p:nvPr>
        </p:nvSpPr>
        <p:spPr>
          <a:xfrm>
            <a:off x="1039604" y="5403224"/>
            <a:ext cx="10883158" cy="615609"/>
          </a:xfrm>
        </p:spPr>
        <p:txBody>
          <a:bodyPr/>
          <a:lstStyle>
            <a:lvl1pPr marL="0" indent="0">
              <a:buFontTx/>
              <a:buNone/>
              <a:defRPr lang="en-US" sz="3137" kern="1200" spc="0" baseline="0" dirty="0" smtClean="0">
                <a:gradFill>
                  <a:gsLst>
                    <a:gs pos="15000">
                      <a:srgbClr val="1E1E1E"/>
                    </a:gs>
                    <a:gs pos="49000">
                      <a:srgbClr val="1E1E1E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Tx/>
              <a:buNone/>
              <a:tabLst/>
            </a:pPr>
            <a:r>
              <a:rPr lang="en-US" dirty="0"/>
              <a:t>Potential highlight or call to action goes here</a:t>
            </a:r>
          </a:p>
        </p:txBody>
      </p:sp>
    </p:spTree>
    <p:extLst>
      <p:ext uri="{BB962C8B-B14F-4D97-AF65-F5344CB8AC3E}">
        <p14:creationId xmlns:p14="http://schemas.microsoft.com/office/powerpoint/2010/main" val="20653154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olumn Grey with bullets">
    <p:bg>
      <p:bgPr>
        <a:solidFill>
          <a:srgbClr val="1E1E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189176"/>
            <a:ext cx="6274973" cy="1943393"/>
          </a:xfrm>
        </p:spPr>
        <p:txBody>
          <a:bodyPr wrap="square">
            <a:spAutoFit/>
          </a:bodyPr>
          <a:lstStyle>
            <a:lvl1pPr marL="392169" indent="-392169">
              <a:spcBef>
                <a:spcPts val="1200"/>
              </a:spcBef>
              <a:buClr>
                <a:srgbClr val="92D050"/>
              </a:buClr>
              <a:buSzPct val="100000"/>
              <a:buFont typeface="Wingdings" panose="05000000000000000000" pitchFamily="2" charset="2"/>
              <a:buChar char="ü"/>
              <a:defRPr sz="3137">
                <a:gradFill>
                  <a:gsLst>
                    <a:gs pos="82500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</a:defRPr>
            </a:lvl1pPr>
            <a:lvl2pPr marL="672290" indent="-280121">
              <a:buClr>
                <a:srgbClr val="92D050"/>
              </a:buClr>
              <a:buSzPct val="100000"/>
              <a:buFont typeface="Wingdings" panose="05000000000000000000" pitchFamily="2" charset="2"/>
              <a:buChar char="ü"/>
              <a:defRPr sz="2353">
                <a:gradFill>
                  <a:gsLst>
                    <a:gs pos="82500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</a:defRPr>
            </a:lvl2pPr>
            <a:lvl3pPr marL="684740" indent="267671">
              <a:buClr>
                <a:srgbClr val="92D050"/>
              </a:buClr>
              <a:buSzPct val="100000"/>
              <a:buFont typeface="Wingdings" panose="05000000000000000000" pitchFamily="2" charset="2"/>
              <a:buChar char="ü"/>
              <a:tabLst/>
              <a:defRPr sz="1961">
                <a:gradFill>
                  <a:gsLst>
                    <a:gs pos="82500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</a:defRPr>
            </a:lvl3pPr>
            <a:lvl4pPr marL="952410" indent="224097">
              <a:buClr>
                <a:srgbClr val="92D050"/>
              </a:buClr>
              <a:buSzPct val="100000"/>
              <a:buFont typeface="Wingdings" panose="05000000000000000000" pitchFamily="2" charset="2"/>
              <a:buChar char="ü"/>
              <a:defRPr>
                <a:gradFill>
                  <a:gsLst>
                    <a:gs pos="82500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</a:defRPr>
            </a:lvl4pPr>
            <a:lvl5pPr marL="1176507" indent="-224097">
              <a:buClr>
                <a:srgbClr val="92D050"/>
              </a:buClr>
              <a:buSzPct val="100000"/>
              <a:buFont typeface="Wingdings" panose="05000000000000000000" pitchFamily="2" charset="2"/>
              <a:buChar char="ü"/>
              <a:tabLst/>
              <a:defRPr>
                <a:gradFill>
                  <a:gsLst>
                    <a:gs pos="82500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Rectangle 5"/>
          <p:cNvSpPr/>
          <p:nvPr userDrawn="1"/>
        </p:nvSpPr>
        <p:spPr>
          <a:xfrm>
            <a:off x="1557" y="5222104"/>
            <a:ext cx="12190443" cy="1635896"/>
          </a:xfrm>
          <a:prstGeom prst="rect">
            <a:avLst/>
          </a:prstGeom>
          <a:solidFill>
            <a:srgbClr val="89C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36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765"/>
          </a:p>
        </p:txBody>
      </p:sp>
      <p:sp>
        <p:nvSpPr>
          <p:cNvPr id="8" name="Freeform 99"/>
          <p:cNvSpPr>
            <a:spLocks noChangeAspect="1"/>
          </p:cNvSpPr>
          <p:nvPr userDrawn="1"/>
        </p:nvSpPr>
        <p:spPr bwMode="black">
          <a:xfrm>
            <a:off x="474670" y="5491047"/>
            <a:ext cx="564934" cy="414033"/>
          </a:xfrm>
          <a:custGeom>
            <a:avLst/>
            <a:gdLst>
              <a:gd name="T0" fmla="*/ 86 w 131"/>
              <a:gd name="T1" fmla="*/ 35 h 96"/>
              <a:gd name="T2" fmla="*/ 48 w 131"/>
              <a:gd name="T3" fmla="*/ 0 h 96"/>
              <a:gd name="T4" fmla="*/ 79 w 131"/>
              <a:gd name="T5" fmla="*/ 0 h 96"/>
              <a:gd name="T6" fmla="*/ 131 w 131"/>
              <a:gd name="T7" fmla="*/ 48 h 96"/>
              <a:gd name="T8" fmla="*/ 79 w 131"/>
              <a:gd name="T9" fmla="*/ 96 h 96"/>
              <a:gd name="T10" fmla="*/ 48 w 131"/>
              <a:gd name="T11" fmla="*/ 96 h 96"/>
              <a:gd name="T12" fmla="*/ 86 w 131"/>
              <a:gd name="T13" fmla="*/ 60 h 96"/>
              <a:gd name="T14" fmla="*/ 0 w 131"/>
              <a:gd name="T15" fmla="*/ 60 h 96"/>
              <a:gd name="T16" fmla="*/ 0 w 131"/>
              <a:gd name="T17" fmla="*/ 35 h 96"/>
              <a:gd name="T18" fmla="*/ 86 w 131"/>
              <a:gd name="T19" fmla="*/ 35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31" h="96">
                <a:moveTo>
                  <a:pt x="86" y="35"/>
                </a:moveTo>
                <a:lnTo>
                  <a:pt x="48" y="0"/>
                </a:lnTo>
                <a:lnTo>
                  <a:pt x="79" y="0"/>
                </a:lnTo>
                <a:lnTo>
                  <a:pt x="131" y="48"/>
                </a:lnTo>
                <a:lnTo>
                  <a:pt x="79" y="96"/>
                </a:lnTo>
                <a:lnTo>
                  <a:pt x="48" y="96"/>
                </a:lnTo>
                <a:lnTo>
                  <a:pt x="86" y="60"/>
                </a:lnTo>
                <a:lnTo>
                  <a:pt x="0" y="60"/>
                </a:lnTo>
                <a:lnTo>
                  <a:pt x="0" y="35"/>
                </a:lnTo>
                <a:lnTo>
                  <a:pt x="86" y="35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lIns="68578" tIns="34288" rIns="68578" bIns="34288"/>
          <a:lstStyle/>
          <a:p>
            <a:pPr defTabSz="91436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323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grpSp>
        <p:nvGrpSpPr>
          <p:cNvPr id="9" name="Group 8"/>
          <p:cNvGrpSpPr>
            <a:grpSpLocks/>
          </p:cNvGrpSpPr>
          <p:nvPr userDrawn="1"/>
        </p:nvGrpSpPr>
        <p:grpSpPr bwMode="auto">
          <a:xfrm flipH="1">
            <a:off x="7082691" y="1905173"/>
            <a:ext cx="4228448" cy="3343392"/>
            <a:chOff x="2348247" y="1709773"/>
            <a:chExt cx="7397345" cy="5322534"/>
          </a:xfrm>
        </p:grpSpPr>
        <p:pic>
          <p:nvPicPr>
            <p:cNvPr id="10" name="Picture 34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48247" y="1709773"/>
              <a:ext cx="3209061" cy="53225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" name="Picture 35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30307" y="5211593"/>
              <a:ext cx="5615285" cy="182071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3" name="Title 1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gradFill>
                  <a:gsLst>
                    <a:gs pos="13750">
                      <a:schemeClr val="tx1"/>
                    </a:gs>
                    <a:gs pos="32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1" hasCustomPrompt="1"/>
          </p:nvPr>
        </p:nvSpPr>
        <p:spPr>
          <a:xfrm>
            <a:off x="1039604" y="5403224"/>
            <a:ext cx="10883158" cy="615609"/>
          </a:xfrm>
        </p:spPr>
        <p:txBody>
          <a:bodyPr/>
          <a:lstStyle>
            <a:lvl1pPr marL="0" indent="0">
              <a:buFontTx/>
              <a:buNone/>
              <a:defRPr sz="3137" baseline="0">
                <a:gradFill>
                  <a:gsLst>
                    <a:gs pos="15000">
                      <a:srgbClr val="1E1E1E"/>
                    </a:gs>
                    <a:gs pos="49000">
                      <a:srgbClr val="1E1E1E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Potential highlight or call to action goes here</a:t>
            </a:r>
          </a:p>
        </p:txBody>
      </p:sp>
    </p:spTree>
    <p:extLst>
      <p:ext uri="{BB962C8B-B14F-4D97-AF65-F5344CB8AC3E}">
        <p14:creationId xmlns:p14="http://schemas.microsoft.com/office/powerpoint/2010/main" val="36057219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289510"/>
            <a:ext cx="5826759" cy="1267431"/>
          </a:xfrm>
        </p:spPr>
        <p:txBody>
          <a:bodyPr vert="horz" wrap="square" lIns="146304" tIns="91440" rIns="146304" bIns="91440" rtlCol="0">
            <a:spAutoFit/>
          </a:bodyPr>
          <a:lstStyle>
            <a:lvl1pPr>
              <a:defRPr lang="en-US" sz="3921" spc="0" dirty="0">
                <a:gradFill>
                  <a:gsLst>
                    <a:gs pos="81250">
                      <a:schemeClr val="tx1"/>
                    </a:gs>
                    <a:gs pos="47000">
                      <a:schemeClr val="tx1"/>
                    </a:gs>
                  </a:gsLst>
                  <a:lin ang="5400000" scaled="0"/>
                </a:gradFill>
                <a:cs typeface="+mn-cs"/>
              </a:defRPr>
            </a:lvl1pPr>
          </a:lstStyle>
          <a:p>
            <a:pPr marL="0" marR="0" lvl="0" indent="0" fontAlgn="auto"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tabLst/>
            </a:pPr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4" name="Picture 2" descr="cropped16x9_code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9113" y="0"/>
            <a:ext cx="6092887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40" y="1635897"/>
            <a:ext cx="5826759" cy="561290"/>
          </a:xfrm>
        </p:spPr>
        <p:txBody>
          <a:bodyPr/>
          <a:lstStyle>
            <a:lvl1pPr marL="0" indent="0">
              <a:buNone/>
              <a:defRPr sz="2745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44186980"/>
      </p:ext>
    </p:extLst>
  </p:cSld>
  <p:clrMapOvr>
    <a:masterClrMapping/>
  </p:clrMapOvr>
  <p:transition>
    <p:fade/>
  </p:transition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 Green">
    <p:bg>
      <p:bgPr>
        <a:solidFill>
          <a:srgbClr val="89C40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0" y="291102"/>
            <a:ext cx="5826760" cy="1267431"/>
          </a:xfrm>
        </p:spPr>
        <p:txBody>
          <a:bodyPr/>
          <a:lstStyle>
            <a:lvl1pPr marL="0" indent="0">
              <a:buNone/>
              <a:defRPr sz="3921">
                <a:gradFill>
                  <a:gsLst>
                    <a:gs pos="15000">
                      <a:srgbClr val="1E1E1E"/>
                    </a:gs>
                    <a:gs pos="49000">
                      <a:srgbClr val="1E1E1E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>
                <a:gradFill>
                  <a:gsLst>
                    <a:gs pos="73750">
                      <a:schemeClr val="bg1"/>
                    </a:gs>
                    <a:gs pos="36000">
                      <a:schemeClr val="bg1"/>
                    </a:gs>
                  </a:gsLst>
                  <a:lin ang="5400000" scaled="0"/>
                </a:gradFill>
              </a:defRPr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4" name="Picture 2" descr="cropped16x9_code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9113" y="0"/>
            <a:ext cx="6092887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269239" y="1635897"/>
            <a:ext cx="5737119" cy="561290"/>
          </a:xfrm>
        </p:spPr>
        <p:txBody>
          <a:bodyPr/>
          <a:lstStyle>
            <a:lvl1pPr marL="0" indent="0">
              <a:buNone/>
              <a:defRPr sz="2745">
                <a:gradFill>
                  <a:gsLst>
                    <a:gs pos="15000">
                      <a:srgbClr val="1E1E1E"/>
                    </a:gs>
                    <a:gs pos="49000">
                      <a:srgbClr val="1E1E1E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93564983"/>
      </p:ext>
    </p:extLst>
  </p:cSld>
  <p:clrMapOvr>
    <a:masterClrMapping/>
  </p:clrMapOvr>
  <p:transition>
    <p:fade/>
  </p:transition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 Alt.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289510"/>
            <a:ext cx="5826759" cy="1267431"/>
          </a:xfrm>
        </p:spPr>
        <p:txBody>
          <a:bodyPr vert="horz" wrap="square" lIns="146304" tIns="91440" rIns="146304" bIns="91440" rtlCol="0">
            <a:spAutoFit/>
          </a:bodyPr>
          <a:lstStyle>
            <a:lvl1pPr>
              <a:defRPr lang="en-US" sz="3921" spc="0" dirty="0">
                <a:gradFill>
                  <a:gsLst>
                    <a:gs pos="81250">
                      <a:schemeClr val="tx1"/>
                    </a:gs>
                    <a:gs pos="47000">
                      <a:schemeClr val="tx1"/>
                    </a:gs>
                  </a:gsLst>
                  <a:lin ang="5400000" scaled="0"/>
                </a:gradFill>
                <a:cs typeface="+mn-cs"/>
              </a:defRPr>
            </a:lvl1pPr>
          </a:lstStyle>
          <a:p>
            <a:pPr marL="0" marR="0" lvl="0" indent="0" fontAlgn="auto"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tabLst/>
            </a:pPr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40" y="1635897"/>
            <a:ext cx="5826759" cy="561290"/>
          </a:xfrm>
        </p:spPr>
        <p:txBody>
          <a:bodyPr/>
          <a:lstStyle>
            <a:lvl1pPr marL="0" indent="0">
              <a:buNone/>
              <a:defRPr sz="2745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8918266"/>
      </p:ext>
    </p:extLst>
  </p:cSld>
  <p:clrMapOvr>
    <a:masterClrMapping/>
  </p:clrMapOvr>
  <p:transition>
    <p:fade/>
  </p:transition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 Alt. Grey">
    <p:bg>
      <p:bgPr>
        <a:solidFill>
          <a:srgbClr val="1E1E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289510"/>
            <a:ext cx="5826759" cy="1267431"/>
          </a:xfrm>
        </p:spPr>
        <p:txBody>
          <a:bodyPr vert="horz" wrap="square" lIns="146304" tIns="91440" rIns="146304" bIns="91440" rtlCol="0">
            <a:spAutoFit/>
          </a:bodyPr>
          <a:lstStyle>
            <a:lvl1pPr>
              <a:defRPr lang="en-US" sz="3921" spc="0" dirty="0">
                <a:gradFill>
                  <a:gsLst>
                    <a:gs pos="81250">
                      <a:schemeClr val="tx1"/>
                    </a:gs>
                    <a:gs pos="47000">
                      <a:schemeClr val="tx1"/>
                    </a:gs>
                  </a:gsLst>
                  <a:lin ang="5400000" scaled="0"/>
                </a:gradFill>
                <a:cs typeface="+mn-cs"/>
              </a:defRPr>
            </a:lvl1pPr>
          </a:lstStyle>
          <a:p>
            <a:pPr marL="0" marR="0" lvl="0" indent="0" fontAlgn="auto"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tabLst/>
            </a:pPr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40" y="1635897"/>
            <a:ext cx="5826759" cy="561290"/>
          </a:xfrm>
        </p:spPr>
        <p:txBody>
          <a:bodyPr/>
          <a:lstStyle>
            <a:lvl1pPr marL="0" indent="0">
              <a:buNone/>
              <a:defRPr sz="2745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38052656"/>
      </p:ext>
    </p:extLst>
  </p:cSld>
  <p:clrMapOvr>
    <a:masterClrMapping/>
  </p:clrMapOvr>
  <p:transition>
    <p:fade/>
  </p:transition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non-bullet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>
            <a:spAutoFit/>
          </a:bodyPr>
          <a:lstStyle>
            <a:lvl1pPr marL="0" indent="0">
              <a:buFontTx/>
              <a:buNone/>
              <a:defRPr sz="3529"/>
            </a:lvl1pPr>
            <a:lvl2pPr marL="336145" indent="0">
              <a:buFontTx/>
              <a:buNone/>
              <a:defRPr/>
            </a:lvl2pPr>
            <a:lvl3pPr marL="560241" indent="0">
              <a:buFontTx/>
              <a:buNone/>
              <a:defRPr/>
            </a:lvl3pPr>
            <a:lvl4pPr marL="784338" indent="0">
              <a:buFontTx/>
              <a:buNone/>
              <a:defRPr/>
            </a:lvl4pPr>
            <a:lvl5pPr marL="1008435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83516961"/>
      </p:ext>
    </p:extLst>
  </p:cSld>
  <p:clrMapOvr>
    <a:masterClrMapping/>
  </p:clrMapOvr>
  <p:transition>
    <p:fade/>
  </p:transition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non-bulleted Content with artwo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0444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669927"/>
          </a:xfrm>
        </p:spPr>
        <p:txBody>
          <a:bodyPr>
            <a:spAutoFit/>
          </a:bodyPr>
          <a:lstStyle>
            <a:lvl1pPr marL="0" indent="0">
              <a:buFontTx/>
              <a:buNone/>
              <a:defRPr sz="3529"/>
            </a:lvl1pPr>
            <a:lvl2pPr marL="336145" indent="0">
              <a:buFontTx/>
              <a:buNone/>
              <a:defRPr/>
            </a:lvl2pPr>
            <a:lvl3pPr marL="560241" indent="0">
              <a:buFontTx/>
              <a:buNone/>
              <a:defRPr/>
            </a:lvl3pPr>
            <a:lvl4pPr marL="784338" indent="0">
              <a:buFontTx/>
              <a:buNone/>
              <a:defRPr/>
            </a:lvl4pPr>
            <a:lvl5pPr marL="1008435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14685331"/>
      </p:ext>
    </p:extLst>
  </p:cSld>
  <p:clrMapOvr>
    <a:masterClrMapping/>
  </p:clrMapOvr>
  <p:transition>
    <p:fade/>
  </p:transition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>
            <a:spAutoFit/>
          </a:bodyPr>
          <a:lstStyle>
            <a:lvl1pPr>
              <a:defRPr sz="3529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57533922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1165664" y="1178349"/>
            <a:ext cx="9860672" cy="899665"/>
          </a:xfrm>
        </p:spPr>
        <p:txBody>
          <a:bodyPr/>
          <a:lstStyle>
            <a:lvl1pPr marL="228766" indent="-228766">
              <a:defRPr sz="5882" baseline="0"/>
            </a:lvl1pPr>
          </a:lstStyle>
          <a:p>
            <a:r>
              <a:rPr lang="en-US" dirty="0"/>
              <a:t>“Sample quote goes here. Design is easier than it looks, and more important than it seems.”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647788" y="5025984"/>
            <a:ext cx="5378549" cy="1050156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137" baseline="0">
                <a:latin typeface="+mj-lt"/>
              </a:defRPr>
            </a:lvl1pPr>
          </a:lstStyle>
          <a:p>
            <a:pPr lvl="0"/>
            <a:r>
              <a:rPr lang="en-US" dirty="0"/>
              <a:t>Author Name</a:t>
            </a:r>
          </a:p>
          <a:p>
            <a:pPr lvl="0"/>
            <a:r>
              <a:rPr lang="en-US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3468831420"/>
      </p:ext>
    </p:extLst>
  </p:cSld>
  <p:clrMapOvr>
    <a:masterClrMapping/>
  </p:clrMapOvr>
  <p:transition>
    <p:fade/>
  </p:transition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3883410"/>
      </p:ext>
    </p:extLst>
  </p:cSld>
  <p:clrMapOvr>
    <a:masterClrMapping/>
  </p:clrMapOvr>
  <p:transition>
    <p:fade/>
  </p:transition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2377940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7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7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3438871"/>
      </p:ext>
    </p:extLst>
  </p:cSld>
  <p:clrMapOvr>
    <a:masterClrMapping/>
  </p:clrMapOvr>
  <p:transition>
    <p:fade/>
  </p:transition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Green Bullet text">
    <p:bg>
      <p:bgPr>
        <a:solidFill>
          <a:srgbClr val="1E1E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2377940"/>
          </a:xfrm>
        </p:spPr>
        <p:txBody>
          <a:bodyPr wrap="square">
            <a:spAutoFit/>
          </a:bodyPr>
          <a:lstStyle>
            <a:lvl1pPr marL="392169" indent="-392169">
              <a:spcBef>
                <a:spcPts val="1200"/>
              </a:spcBef>
              <a:buClr>
                <a:srgbClr val="89C402"/>
              </a:buClr>
              <a:buSzPct val="100000"/>
              <a:buFont typeface="Wingdings" panose="05000000000000000000" pitchFamily="2" charset="2"/>
              <a:buChar char="ü"/>
              <a:defRPr sz="3137"/>
            </a:lvl1pPr>
            <a:lvl2pPr marL="728314" indent="-336145">
              <a:buClr>
                <a:srgbClr val="89C402"/>
              </a:buClr>
              <a:buSzPct val="100000"/>
              <a:buFont typeface="Wingdings" panose="05000000000000000000" pitchFamily="2" charset="2"/>
              <a:buChar char="ü"/>
              <a:defRPr sz="2353"/>
            </a:lvl2pPr>
            <a:lvl3pPr marL="1008435" indent="-280121">
              <a:buClr>
                <a:srgbClr val="89C402"/>
              </a:buClr>
              <a:buSzPct val="100000"/>
              <a:buFont typeface="Wingdings" panose="05000000000000000000" pitchFamily="2" charset="2"/>
              <a:buChar char="ü"/>
              <a:tabLst/>
              <a:defRPr sz="1961"/>
            </a:lvl3pPr>
            <a:lvl4pPr marL="1232531" indent="-224097">
              <a:buClr>
                <a:srgbClr val="89C402"/>
              </a:buClr>
              <a:buSzPct val="100000"/>
              <a:buFont typeface="Wingdings" panose="05000000000000000000" pitchFamily="2" charset="2"/>
              <a:buChar char="ü"/>
              <a:defRPr lang="en-US" sz="1765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32531" indent="-224097">
              <a:buClr>
                <a:srgbClr val="89C402"/>
              </a:buClr>
              <a:buSzPct val="100000"/>
              <a:buFont typeface="Wingdings" panose="05000000000000000000" pitchFamily="2" charset="2"/>
              <a:buChar char="ü"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6533" y="1189176"/>
            <a:ext cx="5378548" cy="2377940"/>
          </a:xfrm>
        </p:spPr>
        <p:txBody>
          <a:bodyPr wrap="square">
            <a:spAutoFit/>
          </a:bodyPr>
          <a:lstStyle>
            <a:lvl1pPr marL="392169" indent="-392169">
              <a:spcBef>
                <a:spcPts val="1200"/>
              </a:spcBef>
              <a:buClr>
                <a:srgbClr val="89C402"/>
              </a:buClr>
              <a:buSzPct val="100000"/>
              <a:buFont typeface="Wingdings" panose="05000000000000000000" pitchFamily="2" charset="2"/>
              <a:buChar char="ü"/>
              <a:defRPr sz="3137"/>
            </a:lvl1pPr>
            <a:lvl2pPr marL="728314" indent="-336145">
              <a:buClr>
                <a:srgbClr val="89C402"/>
              </a:buClr>
              <a:buSzPct val="100000"/>
              <a:buFont typeface="Wingdings" panose="05000000000000000000" pitchFamily="2" charset="2"/>
              <a:buChar char="ü"/>
              <a:defRPr sz="2353"/>
            </a:lvl2pPr>
            <a:lvl3pPr marL="1008435" indent="-280121">
              <a:buClr>
                <a:srgbClr val="89C402"/>
              </a:buClr>
              <a:buSzPct val="100000"/>
              <a:buFont typeface="Wingdings" panose="05000000000000000000" pitchFamily="2" charset="2"/>
              <a:buChar char="ü"/>
              <a:tabLst/>
              <a:defRPr sz="1961"/>
            </a:lvl3pPr>
            <a:lvl4pPr marL="1232531" indent="-224097">
              <a:buClr>
                <a:srgbClr val="89C402"/>
              </a:buClr>
              <a:buSzPct val="100000"/>
              <a:buFont typeface="Wingdings" panose="05000000000000000000" pitchFamily="2" charset="2"/>
              <a:buChar char="ü"/>
              <a:defRPr lang="en-US" sz="1765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32531" indent="-224097">
              <a:buClr>
                <a:srgbClr val="89C402"/>
              </a:buClr>
              <a:buSzPct val="100000"/>
              <a:buFont typeface="Wingdings" panose="05000000000000000000" pitchFamily="2" charset="2"/>
              <a:buChar char="ü"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1335571"/>
      </p:ext>
    </p:extLst>
  </p:cSld>
  <p:clrMapOvr>
    <a:masterClrMapping/>
  </p:clrMapOvr>
  <p:transition>
    <p:fade/>
  </p:transition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0580951"/>
      </p:ext>
    </p:extLst>
  </p:cSld>
  <p:clrMapOvr>
    <a:masterClrMapping/>
  </p:clrMapOvr>
  <p:transition>
    <p:fade/>
  </p:transition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69239" y="1008336"/>
            <a:ext cx="11653523" cy="561290"/>
          </a:xfrm>
        </p:spPr>
        <p:txBody>
          <a:bodyPr/>
          <a:lstStyle>
            <a:lvl1pPr marL="0" indent="0">
              <a:buFontTx/>
              <a:buNone/>
              <a:defRPr sz="2745" baseline="0"/>
            </a:lvl1pPr>
            <a:lvl2pPr marL="336145" indent="0">
              <a:buFontTx/>
              <a:buNone/>
              <a:defRPr/>
            </a:lvl2pPr>
            <a:lvl3pPr marL="560241" indent="0">
              <a:buFontTx/>
              <a:buNone/>
              <a:defRPr/>
            </a:lvl3pPr>
            <a:lvl4pPr marL="784338" indent="0">
              <a:buFontTx/>
              <a:buNone/>
              <a:defRPr/>
            </a:lvl4pPr>
            <a:lvl5pPr marL="1008435" indent="0">
              <a:buFontTx/>
              <a:buNone/>
              <a:defRPr/>
            </a:lvl5pPr>
          </a:lstStyle>
          <a:p>
            <a:pPr lvl="0"/>
            <a:r>
              <a:rPr lang="en-US" dirty="0"/>
              <a:t>Sub-head, or additional information goes here</a:t>
            </a:r>
          </a:p>
        </p:txBody>
      </p:sp>
    </p:spTree>
    <p:extLst>
      <p:ext uri="{BB962C8B-B14F-4D97-AF65-F5344CB8AC3E}">
        <p14:creationId xmlns:p14="http://schemas.microsoft.com/office/powerpoint/2010/main" val="1063968384"/>
      </p:ext>
    </p:extLst>
  </p:cSld>
  <p:clrMapOvr>
    <a:masterClrMapping/>
  </p:clrMapOvr>
  <p:transition>
    <p:fade/>
  </p:transition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head dark grey">
    <p:bg>
      <p:bgPr>
        <a:solidFill>
          <a:srgbClr val="1E1E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69239" y="1008336"/>
            <a:ext cx="11653523" cy="561290"/>
          </a:xfrm>
        </p:spPr>
        <p:txBody>
          <a:bodyPr/>
          <a:lstStyle>
            <a:lvl1pPr marL="0" indent="0">
              <a:buFontTx/>
              <a:buNone/>
              <a:defRPr sz="2745" baseline="0"/>
            </a:lvl1pPr>
            <a:lvl2pPr marL="336145" indent="0">
              <a:buFontTx/>
              <a:buNone/>
              <a:defRPr/>
            </a:lvl2pPr>
            <a:lvl3pPr marL="560241" indent="0">
              <a:buFontTx/>
              <a:buNone/>
              <a:defRPr/>
            </a:lvl3pPr>
            <a:lvl4pPr marL="784338" indent="0">
              <a:buFontTx/>
              <a:buNone/>
              <a:defRPr/>
            </a:lvl4pPr>
            <a:lvl5pPr marL="1008435" indent="0">
              <a:buFontTx/>
              <a:buNone/>
              <a:defRPr/>
            </a:lvl5pPr>
          </a:lstStyle>
          <a:p>
            <a:pPr lvl="0"/>
            <a:r>
              <a:rPr lang="en-US" dirty="0"/>
              <a:t>Sub-head, or additional information goes here</a:t>
            </a:r>
          </a:p>
        </p:txBody>
      </p:sp>
    </p:spTree>
    <p:extLst>
      <p:ext uri="{BB962C8B-B14F-4D97-AF65-F5344CB8AC3E}">
        <p14:creationId xmlns:p14="http://schemas.microsoft.com/office/powerpoint/2010/main" val="4236159031"/>
      </p:ext>
    </p:extLst>
  </p:cSld>
  <p:clrMapOvr>
    <a:masterClrMapping/>
  </p:clrMapOvr>
  <p:transition>
    <p:fade/>
  </p:transition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6"/>
            <a:ext cx="9860674" cy="778565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529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814761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058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3622726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241678411"/>
      </p:ext>
    </p:extLst>
  </p:cSld>
  <p:clrMapOvr>
    <a:masterClrMapping/>
  </p:clrMapOvr>
  <p:transition>
    <p:fade/>
  </p:transition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701621186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ayout_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1165664" y="2084173"/>
            <a:ext cx="9860672" cy="899665"/>
          </a:xfrm>
        </p:spPr>
        <p:txBody>
          <a:bodyPr/>
          <a:lstStyle>
            <a:lvl1pPr marL="277008" indent="-277008">
              <a:tabLst>
                <a:tab pos="277008" algn="l"/>
              </a:tabLst>
              <a:defRPr sz="5882" baseline="0"/>
            </a:lvl1pPr>
          </a:lstStyle>
          <a:p>
            <a:r>
              <a:rPr lang="en-US" dirty="0"/>
              <a:t>“	Add a quote here. Design is easier than it looks, and more important than it seems.”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647788" y="4773813"/>
            <a:ext cx="5378549" cy="1050156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137" baseline="0">
                <a:latin typeface="+mj-lt"/>
              </a:defRPr>
            </a:lvl1pPr>
          </a:lstStyle>
          <a:p>
            <a:pPr lvl="0"/>
            <a:r>
              <a:rPr lang="en-US" dirty="0"/>
              <a:t>Author’s Name</a:t>
            </a:r>
          </a:p>
          <a:p>
            <a:pPr lvl="0"/>
            <a:r>
              <a:rPr lang="en-US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3518302952"/>
      </p:ext>
    </p:extLst>
  </p:cSld>
  <p:clrMapOvr>
    <a:masterClrMapping/>
  </p:clrMapOvr>
  <p:transition>
    <p:fade/>
  </p:transition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chemeClr val="bg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2030020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76250">
                      <a:schemeClr val="tx1"/>
                    </a:gs>
                    <a:gs pos="31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5928455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-50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1217195"/>
            <a:ext cx="5378548" cy="1973570"/>
          </a:xfrm>
        </p:spPr>
        <p:txBody>
          <a:bodyPr>
            <a:spAutoFit/>
          </a:bodyPr>
          <a:lstStyle>
            <a:lvl1pPr>
              <a:defRPr sz="647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50/50 photo layout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ltGray">
          <a:xfrm>
            <a:off x="6097556" y="0"/>
            <a:ext cx="6094444" cy="6856100"/>
          </a:xfr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8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5014249"/>
      </p:ext>
    </p:extLst>
  </p:cSld>
  <p:clrMapOvr>
    <a:masterClrMapping/>
  </p:clrMapOvr>
  <p:transition>
    <p:fade/>
  </p:transition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97367621"/>
      </p:ext>
    </p:extLst>
  </p:cSld>
  <p:clrMapOvr>
    <a:masterClrMapping/>
  </p:clrMapOvr>
  <p:transition>
    <p:fade/>
  </p:transition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440729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bg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877026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977568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2" tIns="45722" rIns="45722" bIns="457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765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2"/>
            <a:ext cx="11653522" cy="1956973"/>
          </a:xfrm>
        </p:spPr>
        <p:txBody>
          <a:bodyPr/>
          <a:lstStyle>
            <a:lvl1pPr marL="0" indent="0">
              <a:buNone/>
              <a:defRPr sz="3235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72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3090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51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292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1523039"/>
      </p:ext>
    </p:extLst>
  </p:cSld>
  <p:clrMapOvr>
    <a:masterClrMapping/>
  </p:clrMapOvr>
  <p:transition>
    <p:fade/>
  </p:transition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 Blue Head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314067"/>
            <a:ext cx="11655840" cy="899665"/>
          </a:xfrm>
        </p:spPr>
        <p:txBody>
          <a:bodyPr/>
          <a:lstStyle>
            <a:lvl1pPr>
              <a:defRPr baseline="0">
                <a:gradFill>
                  <a:gsLst>
                    <a:gs pos="22500">
                      <a:schemeClr val="bg2"/>
                    </a:gs>
                    <a:gs pos="48000">
                      <a:schemeClr val="bg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2"/>
            <a:ext cx="11653522" cy="1956973"/>
          </a:xfrm>
        </p:spPr>
        <p:txBody>
          <a:bodyPr/>
          <a:lstStyle>
            <a:lvl1pPr marL="0" indent="0">
              <a:buNone/>
              <a:defRPr sz="3235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72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3090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51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292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2162762"/>
      </p:ext>
    </p:extLst>
  </p:cSld>
  <p:clrMapOvr>
    <a:masterClrMapping/>
  </p:clrMapOvr>
  <p:transition>
    <p:fade/>
  </p:transition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39" y="6171616"/>
            <a:ext cx="11653522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43428" rIns="179285" bIns="143428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5 Microsoft Corporation. All rights reserved. 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50202" y="3083653"/>
            <a:ext cx="3223861" cy="6906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7168759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895525"/>
            <a:ext cx="11181806" cy="554881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053355" y="6572606"/>
            <a:ext cx="738051" cy="148869"/>
          </a:xfrm>
          <a:prstGeom prst="rect">
            <a:avLst/>
          </a:prstGeom>
        </p:spPr>
        <p:txBody>
          <a:bodyPr/>
          <a:lstStyle/>
          <a:p>
            <a:fld id="{27E05BFB-5438-4B30-80F1-D818097254A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170939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Idea &amp; 3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7021" y="2383023"/>
            <a:ext cx="11653523" cy="914360"/>
          </a:xfrm>
        </p:spPr>
        <p:txBody>
          <a:bodyPr/>
          <a:lstStyle>
            <a:lvl1pPr marL="0" indent="0">
              <a:buNone/>
              <a:defRPr sz="5294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277021" y="1187621"/>
            <a:ext cx="11655840" cy="899665"/>
          </a:xfrm>
        </p:spPr>
        <p:txBody>
          <a:bodyPr/>
          <a:lstStyle>
            <a:lvl1pPr>
              <a:defRPr sz="7058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1807891"/>
      </p:ext>
    </p:extLst>
  </p:cSld>
  <p:clrMapOvr>
    <a:masterClrMapping/>
  </p:clrMapOvr>
  <p:transition>
    <p:fade/>
  </p:transition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 Accent Color 3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Appendix</a:t>
            </a:r>
          </a:p>
        </p:txBody>
      </p:sp>
    </p:spTree>
    <p:extLst>
      <p:ext uri="{BB962C8B-B14F-4D97-AF65-F5344CB8AC3E}">
        <p14:creationId xmlns:p14="http://schemas.microsoft.com/office/powerpoint/2010/main" val="3802089275"/>
      </p:ext>
    </p:extLst>
  </p:cSld>
  <p:clrMapOvr>
    <a:masterClrMapping/>
  </p:clrMapOvr>
  <p:transition>
    <p:fade/>
  </p:transition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2396047"/>
          </a:xfrm>
          <a:prstGeom prst="rect">
            <a:avLst/>
          </a:prstGeom>
        </p:spPr>
        <p:txBody>
          <a:bodyPr/>
          <a:lstStyle>
            <a:lvl1pPr marL="284790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241" indent="-275453">
              <a:buClr>
                <a:schemeClr val="tx1"/>
              </a:buClr>
              <a:buSzPct val="90000"/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5031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9128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225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7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5439352"/>
      </p:ext>
    </p:extLst>
  </p:cSld>
  <p:clrMapOvr>
    <a:masterClrMapping/>
  </p:clrMapOvr>
  <p:transition>
    <p:fade/>
  </p:transition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53771374"/>
      </p:ext>
    </p:extLst>
  </p:cSld>
  <p:clrMapOvr>
    <a:masterClrMapping/>
  </p:clrMapOvr>
  <p:transition>
    <p:fade/>
  </p:transition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hoto_Optio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359016" y="2084186"/>
            <a:ext cx="7172009" cy="1793104"/>
          </a:xfrm>
          <a:noFill/>
        </p:spPr>
        <p:txBody>
          <a:bodyPr lIns="146304" tIns="91440" rIns="146304" bIns="91440" anchor="t" anchorCtr="0"/>
          <a:lstStyle>
            <a:lvl1pPr>
              <a:defRPr sz="6275" spc="-98" baseline="0">
                <a:gradFill>
                  <a:gsLst>
                    <a:gs pos="16162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359016" y="3877270"/>
            <a:ext cx="7172009" cy="1703449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660">
                <a:gradFill>
                  <a:gsLst>
                    <a:gs pos="16162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597671" y="6118623"/>
            <a:ext cx="1674027" cy="268966"/>
          </a:xfrm>
          <a:prstGeom prst="rect">
            <a:avLst/>
          </a:prstGeom>
        </p:spPr>
      </p:pic>
      <p:grpSp>
        <p:nvGrpSpPr>
          <p:cNvPr id="4" name="Group 3"/>
          <p:cNvGrpSpPr/>
          <p:nvPr userDrawn="1"/>
        </p:nvGrpSpPr>
        <p:grpSpPr>
          <a:xfrm>
            <a:off x="6276525" y="2173847"/>
            <a:ext cx="5582944" cy="3317199"/>
            <a:chOff x="6362728" y="1485604"/>
            <a:chExt cx="5396739" cy="4275173"/>
          </a:xfrm>
        </p:grpSpPr>
        <p:sp>
          <p:nvSpPr>
            <p:cNvPr id="12" name="Freeform 11"/>
            <p:cNvSpPr>
              <a:spLocks/>
            </p:cNvSpPr>
            <p:nvPr userDrawn="1"/>
          </p:nvSpPr>
          <p:spPr bwMode="auto">
            <a:xfrm>
              <a:off x="10286428" y="2540869"/>
              <a:ext cx="1228270" cy="499194"/>
            </a:xfrm>
            <a:custGeom>
              <a:avLst/>
              <a:gdLst>
                <a:gd name="T0" fmla="*/ 621 w 696"/>
                <a:gd name="T1" fmla="*/ 132 h 281"/>
                <a:gd name="T2" fmla="*/ 609 w 696"/>
                <a:gd name="T3" fmla="*/ 133 h 281"/>
                <a:gd name="T4" fmla="*/ 469 w 696"/>
                <a:gd name="T5" fmla="*/ 0 h 281"/>
                <a:gd name="T6" fmla="*/ 333 w 696"/>
                <a:gd name="T7" fmla="*/ 104 h 281"/>
                <a:gd name="T8" fmla="*/ 258 w 696"/>
                <a:gd name="T9" fmla="*/ 73 h 281"/>
                <a:gd name="T10" fmla="*/ 155 w 696"/>
                <a:gd name="T11" fmla="*/ 167 h 281"/>
                <a:gd name="T12" fmla="*/ 105 w 696"/>
                <a:gd name="T13" fmla="*/ 190 h 281"/>
                <a:gd name="T14" fmla="*/ 58 w 696"/>
                <a:gd name="T15" fmla="*/ 166 h 281"/>
                <a:gd name="T16" fmla="*/ 0 w 696"/>
                <a:gd name="T17" fmla="*/ 224 h 281"/>
                <a:gd name="T18" fmla="*/ 58 w 696"/>
                <a:gd name="T19" fmla="*/ 281 h 281"/>
                <a:gd name="T20" fmla="*/ 74 w 696"/>
                <a:gd name="T21" fmla="*/ 281 h 281"/>
                <a:gd name="T22" fmla="*/ 264 w 696"/>
                <a:gd name="T23" fmla="*/ 281 h 281"/>
                <a:gd name="T24" fmla="*/ 370 w 696"/>
                <a:gd name="T25" fmla="*/ 281 h 281"/>
                <a:gd name="T26" fmla="*/ 626 w 696"/>
                <a:gd name="T27" fmla="*/ 281 h 281"/>
                <a:gd name="T28" fmla="*/ 626 w 696"/>
                <a:gd name="T29" fmla="*/ 281 h 281"/>
                <a:gd name="T30" fmla="*/ 696 w 696"/>
                <a:gd name="T31" fmla="*/ 207 h 281"/>
                <a:gd name="T32" fmla="*/ 621 w 696"/>
                <a:gd name="T33" fmla="*/ 132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96" h="281">
                  <a:moveTo>
                    <a:pt x="621" y="132"/>
                  </a:moveTo>
                  <a:cubicBezTo>
                    <a:pt x="617" y="132"/>
                    <a:pt x="613" y="133"/>
                    <a:pt x="609" y="133"/>
                  </a:cubicBezTo>
                  <a:cubicBezTo>
                    <a:pt x="606" y="59"/>
                    <a:pt x="544" y="0"/>
                    <a:pt x="469" y="0"/>
                  </a:cubicBezTo>
                  <a:cubicBezTo>
                    <a:pt x="403" y="0"/>
                    <a:pt x="349" y="44"/>
                    <a:pt x="333" y="104"/>
                  </a:cubicBezTo>
                  <a:cubicBezTo>
                    <a:pt x="314" y="85"/>
                    <a:pt x="287" y="73"/>
                    <a:pt x="258" y="73"/>
                  </a:cubicBezTo>
                  <a:cubicBezTo>
                    <a:pt x="204" y="73"/>
                    <a:pt x="160" y="114"/>
                    <a:pt x="155" y="167"/>
                  </a:cubicBezTo>
                  <a:cubicBezTo>
                    <a:pt x="136" y="170"/>
                    <a:pt x="119" y="178"/>
                    <a:pt x="105" y="190"/>
                  </a:cubicBezTo>
                  <a:cubicBezTo>
                    <a:pt x="95" y="175"/>
                    <a:pt x="78" y="166"/>
                    <a:pt x="58" y="166"/>
                  </a:cubicBezTo>
                  <a:cubicBezTo>
                    <a:pt x="26" y="166"/>
                    <a:pt x="0" y="192"/>
                    <a:pt x="0" y="224"/>
                  </a:cubicBezTo>
                  <a:cubicBezTo>
                    <a:pt x="0" y="256"/>
                    <a:pt x="26" y="281"/>
                    <a:pt x="58" y="281"/>
                  </a:cubicBezTo>
                  <a:cubicBezTo>
                    <a:pt x="74" y="281"/>
                    <a:pt x="74" y="281"/>
                    <a:pt x="74" y="281"/>
                  </a:cubicBezTo>
                  <a:cubicBezTo>
                    <a:pt x="264" y="281"/>
                    <a:pt x="264" y="281"/>
                    <a:pt x="264" y="281"/>
                  </a:cubicBezTo>
                  <a:cubicBezTo>
                    <a:pt x="370" y="281"/>
                    <a:pt x="370" y="281"/>
                    <a:pt x="370" y="281"/>
                  </a:cubicBezTo>
                  <a:cubicBezTo>
                    <a:pt x="626" y="281"/>
                    <a:pt x="626" y="281"/>
                    <a:pt x="626" y="281"/>
                  </a:cubicBezTo>
                  <a:cubicBezTo>
                    <a:pt x="626" y="281"/>
                    <a:pt x="626" y="281"/>
                    <a:pt x="626" y="281"/>
                  </a:cubicBezTo>
                  <a:cubicBezTo>
                    <a:pt x="665" y="279"/>
                    <a:pt x="696" y="247"/>
                    <a:pt x="696" y="207"/>
                  </a:cubicBezTo>
                  <a:cubicBezTo>
                    <a:pt x="696" y="166"/>
                    <a:pt x="662" y="132"/>
                    <a:pt x="621" y="13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53"/>
            </a:p>
          </p:txBody>
        </p:sp>
        <p:grpSp>
          <p:nvGrpSpPr>
            <p:cNvPr id="13" name="Group 12"/>
            <p:cNvGrpSpPr/>
            <p:nvPr userDrawn="1"/>
          </p:nvGrpSpPr>
          <p:grpSpPr bwMode="auto">
            <a:xfrm>
              <a:off x="6362728" y="3629515"/>
              <a:ext cx="5396739" cy="2131262"/>
              <a:chOff x="8040688" y="7151688"/>
              <a:chExt cx="6745287" cy="2663825"/>
            </a:xfrm>
          </p:grpSpPr>
          <p:sp>
            <p:nvSpPr>
              <p:cNvPr id="14" name="Freeform 5"/>
              <p:cNvSpPr>
                <a:spLocks noEditPoints="1"/>
              </p:cNvSpPr>
              <p:nvPr userDrawn="1"/>
            </p:nvSpPr>
            <p:spPr bwMode="auto">
              <a:xfrm>
                <a:off x="10498138" y="7808913"/>
                <a:ext cx="776287" cy="774700"/>
              </a:xfrm>
              <a:custGeom>
                <a:avLst/>
                <a:gdLst>
                  <a:gd name="T0" fmla="*/ 50 w 221"/>
                  <a:gd name="T1" fmla="*/ 202 h 220"/>
                  <a:gd name="T2" fmla="*/ 73 w 221"/>
                  <a:gd name="T3" fmla="*/ 186 h 220"/>
                  <a:gd name="T4" fmla="*/ 86 w 221"/>
                  <a:gd name="T5" fmla="*/ 183 h 220"/>
                  <a:gd name="T6" fmla="*/ 95 w 221"/>
                  <a:gd name="T7" fmla="*/ 185 h 220"/>
                  <a:gd name="T8" fmla="*/ 109 w 221"/>
                  <a:gd name="T9" fmla="*/ 214 h 220"/>
                  <a:gd name="T10" fmla="*/ 133 w 221"/>
                  <a:gd name="T11" fmla="*/ 218 h 220"/>
                  <a:gd name="T12" fmla="*/ 138 w 221"/>
                  <a:gd name="T13" fmla="*/ 191 h 220"/>
                  <a:gd name="T14" fmla="*/ 145 w 221"/>
                  <a:gd name="T15" fmla="*/ 179 h 220"/>
                  <a:gd name="T16" fmla="*/ 153 w 221"/>
                  <a:gd name="T17" fmla="*/ 174 h 220"/>
                  <a:gd name="T18" fmla="*/ 183 w 221"/>
                  <a:gd name="T19" fmla="*/ 184 h 220"/>
                  <a:gd name="T20" fmla="*/ 202 w 221"/>
                  <a:gd name="T21" fmla="*/ 170 h 220"/>
                  <a:gd name="T22" fmla="*/ 187 w 221"/>
                  <a:gd name="T23" fmla="*/ 148 h 220"/>
                  <a:gd name="T24" fmla="*/ 183 w 221"/>
                  <a:gd name="T25" fmla="*/ 134 h 220"/>
                  <a:gd name="T26" fmla="*/ 186 w 221"/>
                  <a:gd name="T27" fmla="*/ 125 h 220"/>
                  <a:gd name="T28" fmla="*/ 215 w 221"/>
                  <a:gd name="T29" fmla="*/ 111 h 220"/>
                  <a:gd name="T30" fmla="*/ 218 w 221"/>
                  <a:gd name="T31" fmla="*/ 88 h 220"/>
                  <a:gd name="T32" fmla="*/ 191 w 221"/>
                  <a:gd name="T33" fmla="*/ 83 h 220"/>
                  <a:gd name="T34" fmla="*/ 179 w 221"/>
                  <a:gd name="T35" fmla="*/ 76 h 220"/>
                  <a:gd name="T36" fmla="*/ 175 w 221"/>
                  <a:gd name="T37" fmla="*/ 67 h 220"/>
                  <a:gd name="T38" fmla="*/ 185 w 221"/>
                  <a:gd name="T39" fmla="*/ 37 h 220"/>
                  <a:gd name="T40" fmla="*/ 171 w 221"/>
                  <a:gd name="T41" fmla="*/ 18 h 220"/>
                  <a:gd name="T42" fmla="*/ 148 w 221"/>
                  <a:gd name="T43" fmla="*/ 34 h 220"/>
                  <a:gd name="T44" fmla="*/ 135 w 221"/>
                  <a:gd name="T45" fmla="*/ 37 h 220"/>
                  <a:gd name="T46" fmla="*/ 126 w 221"/>
                  <a:gd name="T47" fmla="*/ 34 h 220"/>
                  <a:gd name="T48" fmla="*/ 112 w 221"/>
                  <a:gd name="T49" fmla="*/ 6 h 220"/>
                  <a:gd name="T50" fmla="*/ 88 w 221"/>
                  <a:gd name="T51" fmla="*/ 2 h 220"/>
                  <a:gd name="T52" fmla="*/ 83 w 221"/>
                  <a:gd name="T53" fmla="*/ 29 h 220"/>
                  <a:gd name="T54" fmla="*/ 68 w 221"/>
                  <a:gd name="T55" fmla="*/ 46 h 220"/>
                  <a:gd name="T56" fmla="*/ 38 w 221"/>
                  <a:gd name="T57" fmla="*/ 35 h 220"/>
                  <a:gd name="T58" fmla="*/ 19 w 221"/>
                  <a:gd name="T59" fmla="*/ 49 h 220"/>
                  <a:gd name="T60" fmla="*/ 34 w 221"/>
                  <a:gd name="T61" fmla="*/ 72 h 220"/>
                  <a:gd name="T62" fmla="*/ 35 w 221"/>
                  <a:gd name="T63" fmla="*/ 96 h 220"/>
                  <a:gd name="T64" fmla="*/ 6 w 221"/>
                  <a:gd name="T65" fmla="*/ 109 h 220"/>
                  <a:gd name="T66" fmla="*/ 3 w 221"/>
                  <a:gd name="T67" fmla="*/ 132 h 220"/>
                  <a:gd name="T68" fmla="*/ 30 w 221"/>
                  <a:gd name="T69" fmla="*/ 137 h 220"/>
                  <a:gd name="T70" fmla="*/ 46 w 221"/>
                  <a:gd name="T71" fmla="*/ 152 h 220"/>
                  <a:gd name="T72" fmla="*/ 46 w 221"/>
                  <a:gd name="T73" fmla="*/ 166 h 220"/>
                  <a:gd name="T74" fmla="*/ 37 w 221"/>
                  <a:gd name="T75" fmla="*/ 192 h 220"/>
                  <a:gd name="T76" fmla="*/ 78 w 221"/>
                  <a:gd name="T77" fmla="*/ 85 h 220"/>
                  <a:gd name="T78" fmla="*/ 142 w 221"/>
                  <a:gd name="T79" fmla="*/ 134 h 2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221" h="220">
                    <a:moveTo>
                      <a:pt x="37" y="192"/>
                    </a:moveTo>
                    <a:cubicBezTo>
                      <a:pt x="50" y="202"/>
                      <a:pt x="50" y="202"/>
                      <a:pt x="50" y="202"/>
                    </a:cubicBezTo>
                    <a:cubicBezTo>
                      <a:pt x="52" y="203"/>
                      <a:pt x="56" y="203"/>
                      <a:pt x="59" y="201"/>
                    </a:cubicBezTo>
                    <a:cubicBezTo>
                      <a:pt x="73" y="186"/>
                      <a:pt x="73" y="186"/>
                      <a:pt x="73" y="186"/>
                    </a:cubicBezTo>
                    <a:cubicBezTo>
                      <a:pt x="78" y="181"/>
                      <a:pt x="82" y="181"/>
                      <a:pt x="85" y="183"/>
                    </a:cubicBezTo>
                    <a:cubicBezTo>
                      <a:pt x="86" y="183"/>
                      <a:pt x="86" y="183"/>
                      <a:pt x="86" y="183"/>
                    </a:cubicBezTo>
                    <a:cubicBezTo>
                      <a:pt x="89" y="184"/>
                      <a:pt x="92" y="185"/>
                      <a:pt x="95" y="185"/>
                    </a:cubicBezTo>
                    <a:cubicBezTo>
                      <a:pt x="95" y="185"/>
                      <a:pt x="95" y="185"/>
                      <a:pt x="95" y="185"/>
                    </a:cubicBezTo>
                    <a:cubicBezTo>
                      <a:pt x="99" y="186"/>
                      <a:pt x="103" y="188"/>
                      <a:pt x="105" y="195"/>
                    </a:cubicBezTo>
                    <a:cubicBezTo>
                      <a:pt x="109" y="214"/>
                      <a:pt x="109" y="214"/>
                      <a:pt x="109" y="214"/>
                    </a:cubicBezTo>
                    <a:cubicBezTo>
                      <a:pt x="110" y="218"/>
                      <a:pt x="114" y="220"/>
                      <a:pt x="116" y="220"/>
                    </a:cubicBezTo>
                    <a:cubicBezTo>
                      <a:pt x="133" y="218"/>
                      <a:pt x="133" y="218"/>
                      <a:pt x="133" y="218"/>
                    </a:cubicBezTo>
                    <a:cubicBezTo>
                      <a:pt x="135" y="217"/>
                      <a:pt x="138" y="214"/>
                      <a:pt x="138" y="210"/>
                    </a:cubicBezTo>
                    <a:cubicBezTo>
                      <a:pt x="138" y="191"/>
                      <a:pt x="138" y="191"/>
                      <a:pt x="138" y="191"/>
                    </a:cubicBezTo>
                    <a:cubicBezTo>
                      <a:pt x="138" y="184"/>
                      <a:pt x="141" y="181"/>
                      <a:pt x="144" y="179"/>
                    </a:cubicBezTo>
                    <a:cubicBezTo>
                      <a:pt x="144" y="179"/>
                      <a:pt x="145" y="179"/>
                      <a:pt x="145" y="179"/>
                    </a:cubicBezTo>
                    <a:cubicBezTo>
                      <a:pt x="147" y="177"/>
                      <a:pt x="150" y="176"/>
                      <a:pt x="153" y="174"/>
                    </a:cubicBezTo>
                    <a:cubicBezTo>
                      <a:pt x="153" y="174"/>
                      <a:pt x="153" y="174"/>
                      <a:pt x="153" y="174"/>
                    </a:cubicBezTo>
                    <a:cubicBezTo>
                      <a:pt x="156" y="172"/>
                      <a:pt x="161" y="171"/>
                      <a:pt x="167" y="174"/>
                    </a:cubicBezTo>
                    <a:cubicBezTo>
                      <a:pt x="183" y="184"/>
                      <a:pt x="183" y="184"/>
                      <a:pt x="183" y="184"/>
                    </a:cubicBezTo>
                    <a:cubicBezTo>
                      <a:pt x="187" y="186"/>
                      <a:pt x="191" y="185"/>
                      <a:pt x="192" y="183"/>
                    </a:cubicBezTo>
                    <a:cubicBezTo>
                      <a:pt x="202" y="170"/>
                      <a:pt x="202" y="170"/>
                      <a:pt x="202" y="170"/>
                    </a:cubicBezTo>
                    <a:cubicBezTo>
                      <a:pt x="204" y="169"/>
                      <a:pt x="204" y="164"/>
                      <a:pt x="201" y="161"/>
                    </a:cubicBezTo>
                    <a:cubicBezTo>
                      <a:pt x="187" y="148"/>
                      <a:pt x="187" y="148"/>
                      <a:pt x="187" y="148"/>
                    </a:cubicBezTo>
                    <a:cubicBezTo>
                      <a:pt x="182" y="143"/>
                      <a:pt x="182" y="139"/>
                      <a:pt x="183" y="135"/>
                    </a:cubicBezTo>
                    <a:cubicBezTo>
                      <a:pt x="183" y="135"/>
                      <a:pt x="183" y="135"/>
                      <a:pt x="183" y="134"/>
                    </a:cubicBezTo>
                    <a:cubicBezTo>
                      <a:pt x="184" y="131"/>
                      <a:pt x="185" y="128"/>
                      <a:pt x="186" y="126"/>
                    </a:cubicBezTo>
                    <a:cubicBezTo>
                      <a:pt x="186" y="125"/>
                      <a:pt x="186" y="125"/>
                      <a:pt x="186" y="125"/>
                    </a:cubicBezTo>
                    <a:cubicBezTo>
                      <a:pt x="187" y="121"/>
                      <a:pt x="189" y="117"/>
                      <a:pt x="196" y="116"/>
                    </a:cubicBezTo>
                    <a:cubicBezTo>
                      <a:pt x="215" y="111"/>
                      <a:pt x="215" y="111"/>
                      <a:pt x="215" y="111"/>
                    </a:cubicBezTo>
                    <a:cubicBezTo>
                      <a:pt x="218" y="110"/>
                      <a:pt x="221" y="106"/>
                      <a:pt x="220" y="104"/>
                    </a:cubicBezTo>
                    <a:cubicBezTo>
                      <a:pt x="218" y="88"/>
                      <a:pt x="218" y="88"/>
                      <a:pt x="218" y="88"/>
                    </a:cubicBezTo>
                    <a:cubicBezTo>
                      <a:pt x="218" y="85"/>
                      <a:pt x="215" y="82"/>
                      <a:pt x="211" y="82"/>
                    </a:cubicBezTo>
                    <a:cubicBezTo>
                      <a:pt x="191" y="83"/>
                      <a:pt x="191" y="83"/>
                      <a:pt x="191" y="83"/>
                    </a:cubicBezTo>
                    <a:cubicBezTo>
                      <a:pt x="184" y="83"/>
                      <a:pt x="181" y="80"/>
                      <a:pt x="180" y="76"/>
                    </a:cubicBezTo>
                    <a:cubicBezTo>
                      <a:pt x="180" y="76"/>
                      <a:pt x="179" y="76"/>
                      <a:pt x="179" y="76"/>
                    </a:cubicBezTo>
                    <a:cubicBezTo>
                      <a:pt x="178" y="73"/>
                      <a:pt x="176" y="70"/>
                      <a:pt x="175" y="68"/>
                    </a:cubicBezTo>
                    <a:cubicBezTo>
                      <a:pt x="175" y="67"/>
                      <a:pt x="175" y="67"/>
                      <a:pt x="175" y="67"/>
                    </a:cubicBezTo>
                    <a:cubicBezTo>
                      <a:pt x="172" y="64"/>
                      <a:pt x="171" y="60"/>
                      <a:pt x="175" y="53"/>
                    </a:cubicBezTo>
                    <a:cubicBezTo>
                      <a:pt x="185" y="37"/>
                      <a:pt x="185" y="37"/>
                      <a:pt x="185" y="37"/>
                    </a:cubicBezTo>
                    <a:cubicBezTo>
                      <a:pt x="187" y="34"/>
                      <a:pt x="186" y="29"/>
                      <a:pt x="184" y="28"/>
                    </a:cubicBezTo>
                    <a:cubicBezTo>
                      <a:pt x="171" y="18"/>
                      <a:pt x="171" y="18"/>
                      <a:pt x="171" y="18"/>
                    </a:cubicBezTo>
                    <a:cubicBezTo>
                      <a:pt x="169" y="17"/>
                      <a:pt x="164" y="16"/>
                      <a:pt x="162" y="19"/>
                    </a:cubicBezTo>
                    <a:cubicBezTo>
                      <a:pt x="148" y="34"/>
                      <a:pt x="148" y="34"/>
                      <a:pt x="148" y="34"/>
                    </a:cubicBezTo>
                    <a:cubicBezTo>
                      <a:pt x="143" y="38"/>
                      <a:pt x="139" y="38"/>
                      <a:pt x="135" y="37"/>
                    </a:cubicBezTo>
                    <a:cubicBezTo>
                      <a:pt x="135" y="37"/>
                      <a:pt x="135" y="37"/>
                      <a:pt x="135" y="37"/>
                    </a:cubicBezTo>
                    <a:cubicBezTo>
                      <a:pt x="132" y="36"/>
                      <a:pt x="129" y="35"/>
                      <a:pt x="126" y="34"/>
                    </a:cubicBezTo>
                    <a:cubicBezTo>
                      <a:pt x="126" y="34"/>
                      <a:pt x="126" y="34"/>
                      <a:pt x="126" y="34"/>
                    </a:cubicBezTo>
                    <a:cubicBezTo>
                      <a:pt x="121" y="34"/>
                      <a:pt x="118" y="32"/>
                      <a:pt x="116" y="24"/>
                    </a:cubicBezTo>
                    <a:cubicBezTo>
                      <a:pt x="112" y="6"/>
                      <a:pt x="112" y="6"/>
                      <a:pt x="112" y="6"/>
                    </a:cubicBezTo>
                    <a:cubicBezTo>
                      <a:pt x="111" y="2"/>
                      <a:pt x="107" y="0"/>
                      <a:pt x="104" y="0"/>
                    </a:cubicBezTo>
                    <a:cubicBezTo>
                      <a:pt x="88" y="2"/>
                      <a:pt x="88" y="2"/>
                      <a:pt x="88" y="2"/>
                    </a:cubicBezTo>
                    <a:cubicBezTo>
                      <a:pt x="86" y="2"/>
                      <a:pt x="83" y="6"/>
                      <a:pt x="83" y="9"/>
                    </a:cubicBezTo>
                    <a:cubicBezTo>
                      <a:pt x="83" y="29"/>
                      <a:pt x="83" y="29"/>
                      <a:pt x="83" y="29"/>
                    </a:cubicBezTo>
                    <a:cubicBezTo>
                      <a:pt x="83" y="36"/>
                      <a:pt x="80" y="39"/>
                      <a:pt x="77" y="41"/>
                    </a:cubicBezTo>
                    <a:cubicBezTo>
                      <a:pt x="73" y="42"/>
                      <a:pt x="70" y="44"/>
                      <a:pt x="68" y="46"/>
                    </a:cubicBezTo>
                    <a:cubicBezTo>
                      <a:pt x="64" y="48"/>
                      <a:pt x="60" y="49"/>
                      <a:pt x="54" y="46"/>
                    </a:cubicBezTo>
                    <a:cubicBezTo>
                      <a:pt x="38" y="35"/>
                      <a:pt x="38" y="35"/>
                      <a:pt x="38" y="35"/>
                    </a:cubicBezTo>
                    <a:cubicBezTo>
                      <a:pt x="34" y="33"/>
                      <a:pt x="30" y="35"/>
                      <a:pt x="29" y="36"/>
                    </a:cubicBezTo>
                    <a:cubicBezTo>
                      <a:pt x="19" y="49"/>
                      <a:pt x="19" y="49"/>
                      <a:pt x="19" y="49"/>
                    </a:cubicBezTo>
                    <a:cubicBezTo>
                      <a:pt x="17" y="51"/>
                      <a:pt x="17" y="56"/>
                      <a:pt x="20" y="59"/>
                    </a:cubicBezTo>
                    <a:cubicBezTo>
                      <a:pt x="34" y="72"/>
                      <a:pt x="34" y="72"/>
                      <a:pt x="34" y="72"/>
                    </a:cubicBezTo>
                    <a:cubicBezTo>
                      <a:pt x="38" y="76"/>
                      <a:pt x="39" y="80"/>
                      <a:pt x="38" y="83"/>
                    </a:cubicBezTo>
                    <a:cubicBezTo>
                      <a:pt x="37" y="87"/>
                      <a:pt x="36" y="91"/>
                      <a:pt x="35" y="96"/>
                    </a:cubicBezTo>
                    <a:cubicBezTo>
                      <a:pt x="34" y="99"/>
                      <a:pt x="32" y="103"/>
                      <a:pt x="25" y="104"/>
                    </a:cubicBezTo>
                    <a:cubicBezTo>
                      <a:pt x="6" y="109"/>
                      <a:pt x="6" y="109"/>
                      <a:pt x="6" y="109"/>
                    </a:cubicBezTo>
                    <a:cubicBezTo>
                      <a:pt x="2" y="110"/>
                      <a:pt x="0" y="113"/>
                      <a:pt x="1" y="116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" y="134"/>
                      <a:pt x="6" y="138"/>
                      <a:pt x="10" y="138"/>
                    </a:cubicBezTo>
                    <a:cubicBezTo>
                      <a:pt x="30" y="137"/>
                      <a:pt x="30" y="137"/>
                      <a:pt x="30" y="137"/>
                    </a:cubicBezTo>
                    <a:cubicBezTo>
                      <a:pt x="37" y="137"/>
                      <a:pt x="40" y="140"/>
                      <a:pt x="41" y="144"/>
                    </a:cubicBezTo>
                    <a:cubicBezTo>
                      <a:pt x="43" y="147"/>
                      <a:pt x="44" y="150"/>
                      <a:pt x="46" y="152"/>
                    </a:cubicBezTo>
                    <a:cubicBezTo>
                      <a:pt x="46" y="153"/>
                      <a:pt x="46" y="153"/>
                      <a:pt x="46" y="153"/>
                    </a:cubicBezTo>
                    <a:cubicBezTo>
                      <a:pt x="49" y="156"/>
                      <a:pt x="50" y="160"/>
                      <a:pt x="46" y="166"/>
                    </a:cubicBezTo>
                    <a:cubicBezTo>
                      <a:pt x="36" y="183"/>
                      <a:pt x="36" y="183"/>
                      <a:pt x="36" y="183"/>
                    </a:cubicBezTo>
                    <a:cubicBezTo>
                      <a:pt x="34" y="186"/>
                      <a:pt x="35" y="190"/>
                      <a:pt x="37" y="192"/>
                    </a:cubicBezTo>
                    <a:close/>
                    <a:moveTo>
                      <a:pt x="86" y="142"/>
                    </a:moveTo>
                    <a:cubicBezTo>
                      <a:pt x="68" y="128"/>
                      <a:pt x="65" y="103"/>
                      <a:pt x="78" y="85"/>
                    </a:cubicBezTo>
                    <a:cubicBezTo>
                      <a:pt x="92" y="68"/>
                      <a:pt x="117" y="64"/>
                      <a:pt x="135" y="78"/>
                    </a:cubicBezTo>
                    <a:cubicBezTo>
                      <a:pt x="152" y="92"/>
                      <a:pt x="156" y="117"/>
                      <a:pt x="142" y="134"/>
                    </a:cubicBezTo>
                    <a:cubicBezTo>
                      <a:pt x="129" y="152"/>
                      <a:pt x="103" y="155"/>
                      <a:pt x="86" y="142"/>
                    </a:cubicBezTo>
                    <a:close/>
                  </a:path>
                </a:pathLst>
              </a:custGeom>
              <a:solidFill>
                <a:srgbClr val="D83B0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353"/>
              </a:p>
            </p:txBody>
          </p:sp>
          <p:sp>
            <p:nvSpPr>
              <p:cNvPr id="15" name="Freeform 6"/>
              <p:cNvSpPr>
                <a:spLocks noEditPoints="1"/>
              </p:cNvSpPr>
              <p:nvPr userDrawn="1"/>
            </p:nvSpPr>
            <p:spPr bwMode="auto">
              <a:xfrm>
                <a:off x="9758363" y="8366126"/>
                <a:ext cx="1060450" cy="1062038"/>
              </a:xfrm>
              <a:custGeom>
                <a:avLst/>
                <a:gdLst>
                  <a:gd name="T0" fmla="*/ 264 w 302"/>
                  <a:gd name="T1" fmla="*/ 100 h 302"/>
                  <a:gd name="T2" fmla="*/ 274 w 302"/>
                  <a:gd name="T3" fmla="*/ 69 h 302"/>
                  <a:gd name="T4" fmla="*/ 248 w 302"/>
                  <a:gd name="T5" fmla="*/ 61 h 302"/>
                  <a:gd name="T6" fmla="*/ 233 w 302"/>
                  <a:gd name="T7" fmla="*/ 47 h 302"/>
                  <a:gd name="T8" fmla="*/ 224 w 302"/>
                  <a:gd name="T9" fmla="*/ 22 h 302"/>
                  <a:gd name="T10" fmla="*/ 196 w 302"/>
                  <a:gd name="T11" fmla="*/ 35 h 302"/>
                  <a:gd name="T12" fmla="*/ 180 w 302"/>
                  <a:gd name="T13" fmla="*/ 6 h 302"/>
                  <a:gd name="T14" fmla="*/ 157 w 302"/>
                  <a:gd name="T15" fmla="*/ 19 h 302"/>
                  <a:gd name="T16" fmla="*/ 136 w 302"/>
                  <a:gd name="T17" fmla="*/ 20 h 302"/>
                  <a:gd name="T18" fmla="*/ 112 w 302"/>
                  <a:gd name="T19" fmla="*/ 8 h 302"/>
                  <a:gd name="T20" fmla="*/ 101 w 302"/>
                  <a:gd name="T21" fmla="*/ 38 h 302"/>
                  <a:gd name="T22" fmla="*/ 69 w 302"/>
                  <a:gd name="T23" fmla="*/ 28 h 302"/>
                  <a:gd name="T24" fmla="*/ 62 w 302"/>
                  <a:gd name="T25" fmla="*/ 54 h 302"/>
                  <a:gd name="T26" fmla="*/ 48 w 302"/>
                  <a:gd name="T27" fmla="*/ 69 h 302"/>
                  <a:gd name="T28" fmla="*/ 23 w 302"/>
                  <a:gd name="T29" fmla="*/ 78 h 302"/>
                  <a:gd name="T30" fmla="*/ 36 w 302"/>
                  <a:gd name="T31" fmla="*/ 107 h 302"/>
                  <a:gd name="T32" fmla="*/ 6 w 302"/>
                  <a:gd name="T33" fmla="*/ 122 h 302"/>
                  <a:gd name="T34" fmla="*/ 20 w 302"/>
                  <a:gd name="T35" fmla="*/ 145 h 302"/>
                  <a:gd name="T36" fmla="*/ 20 w 302"/>
                  <a:gd name="T37" fmla="*/ 166 h 302"/>
                  <a:gd name="T38" fmla="*/ 9 w 302"/>
                  <a:gd name="T39" fmla="*/ 190 h 302"/>
                  <a:gd name="T40" fmla="*/ 38 w 302"/>
                  <a:gd name="T41" fmla="*/ 201 h 302"/>
                  <a:gd name="T42" fmla="*/ 28 w 302"/>
                  <a:gd name="T43" fmla="*/ 233 h 302"/>
                  <a:gd name="T44" fmla="*/ 54 w 302"/>
                  <a:gd name="T45" fmla="*/ 240 h 302"/>
                  <a:gd name="T46" fmla="*/ 69 w 302"/>
                  <a:gd name="T47" fmla="*/ 254 h 302"/>
                  <a:gd name="T48" fmla="*/ 78 w 302"/>
                  <a:gd name="T49" fmla="*/ 279 h 302"/>
                  <a:gd name="T50" fmla="*/ 107 w 302"/>
                  <a:gd name="T51" fmla="*/ 266 h 302"/>
                  <a:gd name="T52" fmla="*/ 123 w 302"/>
                  <a:gd name="T53" fmla="*/ 296 h 302"/>
                  <a:gd name="T54" fmla="*/ 146 w 302"/>
                  <a:gd name="T55" fmla="*/ 282 h 302"/>
                  <a:gd name="T56" fmla="*/ 166 w 302"/>
                  <a:gd name="T57" fmla="*/ 282 h 302"/>
                  <a:gd name="T58" fmla="*/ 191 w 302"/>
                  <a:gd name="T59" fmla="*/ 293 h 302"/>
                  <a:gd name="T60" fmla="*/ 202 w 302"/>
                  <a:gd name="T61" fmla="*/ 264 h 302"/>
                  <a:gd name="T62" fmla="*/ 233 w 302"/>
                  <a:gd name="T63" fmla="*/ 274 h 302"/>
                  <a:gd name="T64" fmla="*/ 241 w 302"/>
                  <a:gd name="T65" fmla="*/ 248 h 302"/>
                  <a:gd name="T66" fmla="*/ 255 w 302"/>
                  <a:gd name="T67" fmla="*/ 233 h 302"/>
                  <a:gd name="T68" fmla="*/ 280 w 302"/>
                  <a:gd name="T69" fmla="*/ 224 h 302"/>
                  <a:gd name="T70" fmla="*/ 267 w 302"/>
                  <a:gd name="T71" fmla="*/ 195 h 302"/>
                  <a:gd name="T72" fmla="*/ 296 w 302"/>
                  <a:gd name="T73" fmla="*/ 180 h 302"/>
                  <a:gd name="T74" fmla="*/ 283 w 302"/>
                  <a:gd name="T75" fmla="*/ 156 h 302"/>
                  <a:gd name="T76" fmla="*/ 282 w 302"/>
                  <a:gd name="T77" fmla="*/ 136 h 302"/>
                  <a:gd name="T78" fmla="*/ 294 w 302"/>
                  <a:gd name="T79" fmla="*/ 111 h 302"/>
                  <a:gd name="T80" fmla="*/ 147 w 302"/>
                  <a:gd name="T81" fmla="*/ 176 h 302"/>
                  <a:gd name="T82" fmla="*/ 156 w 302"/>
                  <a:gd name="T83" fmla="*/ 125 h 302"/>
                  <a:gd name="T84" fmla="*/ 147 w 302"/>
                  <a:gd name="T85" fmla="*/ 176 h 3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302" h="302">
                    <a:moveTo>
                      <a:pt x="275" y="105"/>
                    </a:moveTo>
                    <a:cubicBezTo>
                      <a:pt x="270" y="103"/>
                      <a:pt x="265" y="101"/>
                      <a:pt x="264" y="100"/>
                    </a:cubicBezTo>
                    <a:cubicBezTo>
                      <a:pt x="264" y="99"/>
                      <a:pt x="264" y="92"/>
                      <a:pt x="267" y="87"/>
                    </a:cubicBezTo>
                    <a:cubicBezTo>
                      <a:pt x="274" y="69"/>
                      <a:pt x="274" y="69"/>
                      <a:pt x="274" y="69"/>
                    </a:cubicBezTo>
                    <a:cubicBezTo>
                      <a:pt x="276" y="63"/>
                      <a:pt x="274" y="60"/>
                      <a:pt x="268" y="60"/>
                    </a:cubicBezTo>
                    <a:cubicBezTo>
                      <a:pt x="248" y="61"/>
                      <a:pt x="248" y="61"/>
                      <a:pt x="248" y="61"/>
                    </a:cubicBezTo>
                    <a:cubicBezTo>
                      <a:pt x="243" y="62"/>
                      <a:pt x="237" y="62"/>
                      <a:pt x="237" y="61"/>
                    </a:cubicBezTo>
                    <a:cubicBezTo>
                      <a:pt x="236" y="60"/>
                      <a:pt x="233" y="53"/>
                      <a:pt x="233" y="47"/>
                    </a:cubicBezTo>
                    <a:cubicBezTo>
                      <a:pt x="233" y="28"/>
                      <a:pt x="233" y="28"/>
                      <a:pt x="233" y="28"/>
                    </a:cubicBezTo>
                    <a:cubicBezTo>
                      <a:pt x="233" y="22"/>
                      <a:pt x="229" y="20"/>
                      <a:pt x="224" y="22"/>
                    </a:cubicBezTo>
                    <a:cubicBezTo>
                      <a:pt x="207" y="31"/>
                      <a:pt x="207" y="31"/>
                      <a:pt x="207" y="31"/>
                    </a:cubicBezTo>
                    <a:cubicBezTo>
                      <a:pt x="202" y="34"/>
                      <a:pt x="197" y="35"/>
                      <a:pt x="196" y="35"/>
                    </a:cubicBezTo>
                    <a:cubicBezTo>
                      <a:pt x="194" y="34"/>
                      <a:pt x="190" y="29"/>
                      <a:pt x="188" y="24"/>
                    </a:cubicBezTo>
                    <a:cubicBezTo>
                      <a:pt x="180" y="6"/>
                      <a:pt x="180" y="6"/>
                      <a:pt x="180" y="6"/>
                    </a:cubicBezTo>
                    <a:cubicBezTo>
                      <a:pt x="178" y="1"/>
                      <a:pt x="173" y="0"/>
                      <a:pt x="170" y="4"/>
                    </a:cubicBezTo>
                    <a:cubicBezTo>
                      <a:pt x="157" y="19"/>
                      <a:pt x="157" y="19"/>
                      <a:pt x="157" y="19"/>
                    </a:cubicBezTo>
                    <a:cubicBezTo>
                      <a:pt x="153" y="23"/>
                      <a:pt x="149" y="27"/>
                      <a:pt x="148" y="27"/>
                    </a:cubicBezTo>
                    <a:cubicBezTo>
                      <a:pt x="147" y="27"/>
                      <a:pt x="140" y="24"/>
                      <a:pt x="136" y="20"/>
                    </a:cubicBezTo>
                    <a:cubicBezTo>
                      <a:pt x="122" y="6"/>
                      <a:pt x="122" y="6"/>
                      <a:pt x="122" y="6"/>
                    </a:cubicBezTo>
                    <a:cubicBezTo>
                      <a:pt x="118" y="2"/>
                      <a:pt x="114" y="3"/>
                      <a:pt x="112" y="8"/>
                    </a:cubicBezTo>
                    <a:cubicBezTo>
                      <a:pt x="106" y="27"/>
                      <a:pt x="106" y="27"/>
                      <a:pt x="106" y="27"/>
                    </a:cubicBezTo>
                    <a:cubicBezTo>
                      <a:pt x="104" y="32"/>
                      <a:pt x="102" y="37"/>
                      <a:pt x="101" y="38"/>
                    </a:cubicBezTo>
                    <a:cubicBezTo>
                      <a:pt x="100" y="38"/>
                      <a:pt x="93" y="38"/>
                      <a:pt x="88" y="35"/>
                    </a:cubicBezTo>
                    <a:cubicBezTo>
                      <a:pt x="69" y="28"/>
                      <a:pt x="69" y="28"/>
                      <a:pt x="69" y="28"/>
                    </a:cubicBezTo>
                    <a:cubicBezTo>
                      <a:pt x="64" y="26"/>
                      <a:pt x="60" y="28"/>
                      <a:pt x="61" y="34"/>
                    </a:cubicBezTo>
                    <a:cubicBezTo>
                      <a:pt x="62" y="54"/>
                      <a:pt x="62" y="54"/>
                      <a:pt x="62" y="54"/>
                    </a:cubicBezTo>
                    <a:cubicBezTo>
                      <a:pt x="63" y="59"/>
                      <a:pt x="62" y="65"/>
                      <a:pt x="61" y="66"/>
                    </a:cubicBezTo>
                    <a:cubicBezTo>
                      <a:pt x="61" y="66"/>
                      <a:pt x="54" y="69"/>
                      <a:pt x="48" y="69"/>
                    </a:cubicBezTo>
                    <a:cubicBezTo>
                      <a:pt x="28" y="69"/>
                      <a:pt x="28" y="69"/>
                      <a:pt x="28" y="69"/>
                    </a:cubicBezTo>
                    <a:cubicBezTo>
                      <a:pt x="23" y="69"/>
                      <a:pt x="20" y="73"/>
                      <a:pt x="23" y="78"/>
                    </a:cubicBezTo>
                    <a:cubicBezTo>
                      <a:pt x="32" y="95"/>
                      <a:pt x="32" y="95"/>
                      <a:pt x="32" y="95"/>
                    </a:cubicBezTo>
                    <a:cubicBezTo>
                      <a:pt x="34" y="100"/>
                      <a:pt x="36" y="105"/>
                      <a:pt x="36" y="107"/>
                    </a:cubicBezTo>
                    <a:cubicBezTo>
                      <a:pt x="35" y="108"/>
                      <a:pt x="30" y="112"/>
                      <a:pt x="25" y="114"/>
                    </a:cubicBezTo>
                    <a:cubicBezTo>
                      <a:pt x="6" y="122"/>
                      <a:pt x="6" y="122"/>
                      <a:pt x="6" y="122"/>
                    </a:cubicBezTo>
                    <a:cubicBezTo>
                      <a:pt x="1" y="124"/>
                      <a:pt x="0" y="129"/>
                      <a:pt x="5" y="132"/>
                    </a:cubicBezTo>
                    <a:cubicBezTo>
                      <a:pt x="20" y="145"/>
                      <a:pt x="20" y="145"/>
                      <a:pt x="20" y="145"/>
                    </a:cubicBezTo>
                    <a:cubicBezTo>
                      <a:pt x="24" y="149"/>
                      <a:pt x="27" y="153"/>
                      <a:pt x="27" y="154"/>
                    </a:cubicBezTo>
                    <a:cubicBezTo>
                      <a:pt x="28" y="155"/>
                      <a:pt x="24" y="162"/>
                      <a:pt x="20" y="166"/>
                    </a:cubicBezTo>
                    <a:cubicBezTo>
                      <a:pt x="6" y="180"/>
                      <a:pt x="6" y="180"/>
                      <a:pt x="6" y="180"/>
                    </a:cubicBezTo>
                    <a:cubicBezTo>
                      <a:pt x="2" y="184"/>
                      <a:pt x="4" y="188"/>
                      <a:pt x="9" y="190"/>
                    </a:cubicBezTo>
                    <a:cubicBezTo>
                      <a:pt x="28" y="196"/>
                      <a:pt x="28" y="196"/>
                      <a:pt x="28" y="196"/>
                    </a:cubicBezTo>
                    <a:cubicBezTo>
                      <a:pt x="33" y="198"/>
                      <a:pt x="38" y="200"/>
                      <a:pt x="38" y="201"/>
                    </a:cubicBezTo>
                    <a:cubicBezTo>
                      <a:pt x="39" y="202"/>
                      <a:pt x="38" y="209"/>
                      <a:pt x="36" y="214"/>
                    </a:cubicBezTo>
                    <a:cubicBezTo>
                      <a:pt x="28" y="233"/>
                      <a:pt x="28" y="233"/>
                      <a:pt x="28" y="233"/>
                    </a:cubicBezTo>
                    <a:cubicBezTo>
                      <a:pt x="26" y="238"/>
                      <a:pt x="29" y="242"/>
                      <a:pt x="35" y="241"/>
                    </a:cubicBezTo>
                    <a:cubicBezTo>
                      <a:pt x="54" y="240"/>
                      <a:pt x="54" y="240"/>
                      <a:pt x="54" y="240"/>
                    </a:cubicBezTo>
                    <a:cubicBezTo>
                      <a:pt x="60" y="240"/>
                      <a:pt x="65" y="240"/>
                      <a:pt x="66" y="241"/>
                    </a:cubicBezTo>
                    <a:cubicBezTo>
                      <a:pt x="67" y="242"/>
                      <a:pt x="69" y="248"/>
                      <a:pt x="69" y="254"/>
                    </a:cubicBezTo>
                    <a:cubicBezTo>
                      <a:pt x="69" y="274"/>
                      <a:pt x="69" y="274"/>
                      <a:pt x="69" y="274"/>
                    </a:cubicBezTo>
                    <a:cubicBezTo>
                      <a:pt x="69" y="279"/>
                      <a:pt x="73" y="282"/>
                      <a:pt x="78" y="279"/>
                    </a:cubicBezTo>
                    <a:cubicBezTo>
                      <a:pt x="96" y="270"/>
                      <a:pt x="96" y="270"/>
                      <a:pt x="96" y="270"/>
                    </a:cubicBezTo>
                    <a:cubicBezTo>
                      <a:pt x="101" y="268"/>
                      <a:pt x="106" y="266"/>
                      <a:pt x="107" y="266"/>
                    </a:cubicBezTo>
                    <a:cubicBezTo>
                      <a:pt x="108" y="267"/>
                      <a:pt x="113" y="272"/>
                      <a:pt x="115" y="277"/>
                    </a:cubicBezTo>
                    <a:cubicBezTo>
                      <a:pt x="123" y="296"/>
                      <a:pt x="123" y="296"/>
                      <a:pt x="123" y="296"/>
                    </a:cubicBezTo>
                    <a:cubicBezTo>
                      <a:pt x="125" y="301"/>
                      <a:pt x="129" y="302"/>
                      <a:pt x="133" y="297"/>
                    </a:cubicBezTo>
                    <a:cubicBezTo>
                      <a:pt x="146" y="282"/>
                      <a:pt x="146" y="282"/>
                      <a:pt x="146" y="282"/>
                    </a:cubicBezTo>
                    <a:cubicBezTo>
                      <a:pt x="150" y="278"/>
                      <a:pt x="154" y="275"/>
                      <a:pt x="155" y="275"/>
                    </a:cubicBezTo>
                    <a:cubicBezTo>
                      <a:pt x="156" y="275"/>
                      <a:pt x="162" y="278"/>
                      <a:pt x="166" y="282"/>
                    </a:cubicBezTo>
                    <a:cubicBezTo>
                      <a:pt x="180" y="296"/>
                      <a:pt x="180" y="296"/>
                      <a:pt x="180" y="296"/>
                    </a:cubicBezTo>
                    <a:cubicBezTo>
                      <a:pt x="184" y="300"/>
                      <a:pt x="189" y="298"/>
                      <a:pt x="191" y="293"/>
                    </a:cubicBezTo>
                    <a:cubicBezTo>
                      <a:pt x="197" y="274"/>
                      <a:pt x="197" y="274"/>
                      <a:pt x="197" y="274"/>
                    </a:cubicBezTo>
                    <a:cubicBezTo>
                      <a:pt x="199" y="269"/>
                      <a:pt x="201" y="264"/>
                      <a:pt x="202" y="264"/>
                    </a:cubicBezTo>
                    <a:cubicBezTo>
                      <a:pt x="203" y="263"/>
                      <a:pt x="210" y="264"/>
                      <a:pt x="215" y="266"/>
                    </a:cubicBezTo>
                    <a:cubicBezTo>
                      <a:pt x="233" y="274"/>
                      <a:pt x="233" y="274"/>
                      <a:pt x="233" y="274"/>
                    </a:cubicBezTo>
                    <a:cubicBezTo>
                      <a:pt x="239" y="276"/>
                      <a:pt x="243" y="273"/>
                      <a:pt x="242" y="267"/>
                    </a:cubicBezTo>
                    <a:cubicBezTo>
                      <a:pt x="241" y="248"/>
                      <a:pt x="241" y="248"/>
                      <a:pt x="241" y="248"/>
                    </a:cubicBezTo>
                    <a:cubicBezTo>
                      <a:pt x="240" y="242"/>
                      <a:pt x="241" y="237"/>
                      <a:pt x="241" y="236"/>
                    </a:cubicBezTo>
                    <a:cubicBezTo>
                      <a:pt x="242" y="235"/>
                      <a:pt x="249" y="233"/>
                      <a:pt x="255" y="233"/>
                    </a:cubicBezTo>
                    <a:cubicBezTo>
                      <a:pt x="274" y="233"/>
                      <a:pt x="274" y="233"/>
                      <a:pt x="274" y="233"/>
                    </a:cubicBezTo>
                    <a:cubicBezTo>
                      <a:pt x="280" y="233"/>
                      <a:pt x="283" y="229"/>
                      <a:pt x="280" y="224"/>
                    </a:cubicBezTo>
                    <a:cubicBezTo>
                      <a:pt x="271" y="206"/>
                      <a:pt x="271" y="206"/>
                      <a:pt x="271" y="206"/>
                    </a:cubicBezTo>
                    <a:cubicBezTo>
                      <a:pt x="268" y="201"/>
                      <a:pt x="267" y="196"/>
                      <a:pt x="267" y="195"/>
                    </a:cubicBezTo>
                    <a:cubicBezTo>
                      <a:pt x="268" y="194"/>
                      <a:pt x="273" y="189"/>
                      <a:pt x="278" y="187"/>
                    </a:cubicBezTo>
                    <a:cubicBezTo>
                      <a:pt x="296" y="180"/>
                      <a:pt x="296" y="180"/>
                      <a:pt x="296" y="180"/>
                    </a:cubicBezTo>
                    <a:cubicBezTo>
                      <a:pt x="302" y="177"/>
                      <a:pt x="302" y="173"/>
                      <a:pt x="298" y="169"/>
                    </a:cubicBezTo>
                    <a:cubicBezTo>
                      <a:pt x="283" y="156"/>
                      <a:pt x="283" y="156"/>
                      <a:pt x="283" y="156"/>
                    </a:cubicBezTo>
                    <a:cubicBezTo>
                      <a:pt x="279" y="152"/>
                      <a:pt x="275" y="148"/>
                      <a:pt x="275" y="147"/>
                    </a:cubicBezTo>
                    <a:cubicBezTo>
                      <a:pt x="275" y="146"/>
                      <a:pt x="278" y="140"/>
                      <a:pt x="282" y="136"/>
                    </a:cubicBezTo>
                    <a:cubicBezTo>
                      <a:pt x="296" y="122"/>
                      <a:pt x="296" y="122"/>
                      <a:pt x="296" y="122"/>
                    </a:cubicBezTo>
                    <a:cubicBezTo>
                      <a:pt x="300" y="118"/>
                      <a:pt x="299" y="113"/>
                      <a:pt x="294" y="111"/>
                    </a:cubicBezTo>
                    <a:lnTo>
                      <a:pt x="275" y="105"/>
                    </a:lnTo>
                    <a:close/>
                    <a:moveTo>
                      <a:pt x="147" y="176"/>
                    </a:moveTo>
                    <a:cubicBezTo>
                      <a:pt x="133" y="174"/>
                      <a:pt x="123" y="161"/>
                      <a:pt x="126" y="147"/>
                    </a:cubicBezTo>
                    <a:cubicBezTo>
                      <a:pt x="128" y="132"/>
                      <a:pt x="141" y="123"/>
                      <a:pt x="156" y="125"/>
                    </a:cubicBezTo>
                    <a:cubicBezTo>
                      <a:pt x="170" y="127"/>
                      <a:pt x="179" y="141"/>
                      <a:pt x="177" y="155"/>
                    </a:cubicBezTo>
                    <a:cubicBezTo>
                      <a:pt x="175" y="169"/>
                      <a:pt x="161" y="179"/>
                      <a:pt x="147" y="176"/>
                    </a:cubicBezTo>
                    <a:close/>
                  </a:path>
                </a:pathLst>
              </a:custGeom>
              <a:solidFill>
                <a:srgbClr val="B4009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353"/>
              </a:p>
            </p:txBody>
          </p:sp>
          <p:sp>
            <p:nvSpPr>
              <p:cNvPr id="16" name="Freeform 7"/>
              <p:cNvSpPr>
                <a:spLocks noEditPoints="1"/>
              </p:cNvSpPr>
              <p:nvPr userDrawn="1"/>
            </p:nvSpPr>
            <p:spPr bwMode="auto">
              <a:xfrm>
                <a:off x="11022013" y="8059738"/>
                <a:ext cx="1547812" cy="1550988"/>
              </a:xfrm>
              <a:custGeom>
                <a:avLst/>
                <a:gdLst>
                  <a:gd name="T0" fmla="*/ 434 w 441"/>
                  <a:gd name="T1" fmla="*/ 201 h 441"/>
                  <a:gd name="T2" fmla="*/ 425 w 441"/>
                  <a:gd name="T3" fmla="*/ 156 h 441"/>
                  <a:gd name="T4" fmla="*/ 410 w 441"/>
                  <a:gd name="T5" fmla="*/ 120 h 441"/>
                  <a:gd name="T6" fmla="*/ 385 w 441"/>
                  <a:gd name="T7" fmla="*/ 84 h 441"/>
                  <a:gd name="T8" fmla="*/ 357 w 441"/>
                  <a:gd name="T9" fmla="*/ 56 h 441"/>
                  <a:gd name="T10" fmla="*/ 320 w 441"/>
                  <a:gd name="T11" fmla="*/ 30 h 441"/>
                  <a:gd name="T12" fmla="*/ 283 w 441"/>
                  <a:gd name="T13" fmla="*/ 16 h 441"/>
                  <a:gd name="T14" fmla="*/ 240 w 441"/>
                  <a:gd name="T15" fmla="*/ 7 h 441"/>
                  <a:gd name="T16" fmla="*/ 201 w 441"/>
                  <a:gd name="T17" fmla="*/ 7 h 441"/>
                  <a:gd name="T18" fmla="*/ 156 w 441"/>
                  <a:gd name="T19" fmla="*/ 16 h 441"/>
                  <a:gd name="T20" fmla="*/ 120 w 441"/>
                  <a:gd name="T21" fmla="*/ 31 h 441"/>
                  <a:gd name="T22" fmla="*/ 84 w 441"/>
                  <a:gd name="T23" fmla="*/ 56 h 441"/>
                  <a:gd name="T24" fmla="*/ 56 w 441"/>
                  <a:gd name="T25" fmla="*/ 84 h 441"/>
                  <a:gd name="T26" fmla="*/ 31 w 441"/>
                  <a:gd name="T27" fmla="*/ 122 h 441"/>
                  <a:gd name="T28" fmla="*/ 16 w 441"/>
                  <a:gd name="T29" fmla="*/ 158 h 441"/>
                  <a:gd name="T30" fmla="*/ 7 w 441"/>
                  <a:gd name="T31" fmla="*/ 201 h 441"/>
                  <a:gd name="T32" fmla="*/ 7 w 441"/>
                  <a:gd name="T33" fmla="*/ 240 h 441"/>
                  <a:gd name="T34" fmla="*/ 16 w 441"/>
                  <a:gd name="T35" fmla="*/ 285 h 441"/>
                  <a:gd name="T36" fmla="*/ 32 w 441"/>
                  <a:gd name="T37" fmla="*/ 321 h 441"/>
                  <a:gd name="T38" fmla="*/ 56 w 441"/>
                  <a:gd name="T39" fmla="*/ 357 h 441"/>
                  <a:gd name="T40" fmla="*/ 84 w 441"/>
                  <a:gd name="T41" fmla="*/ 385 h 441"/>
                  <a:gd name="T42" fmla="*/ 122 w 441"/>
                  <a:gd name="T43" fmla="*/ 411 h 441"/>
                  <a:gd name="T44" fmla="*/ 158 w 441"/>
                  <a:gd name="T45" fmla="*/ 425 h 441"/>
                  <a:gd name="T46" fmla="*/ 201 w 441"/>
                  <a:gd name="T47" fmla="*/ 434 h 441"/>
                  <a:gd name="T48" fmla="*/ 240 w 441"/>
                  <a:gd name="T49" fmla="*/ 434 h 441"/>
                  <a:gd name="T50" fmla="*/ 285 w 441"/>
                  <a:gd name="T51" fmla="*/ 425 h 441"/>
                  <a:gd name="T52" fmla="*/ 321 w 441"/>
                  <a:gd name="T53" fmla="*/ 410 h 441"/>
                  <a:gd name="T54" fmla="*/ 357 w 441"/>
                  <a:gd name="T55" fmla="*/ 385 h 441"/>
                  <a:gd name="T56" fmla="*/ 385 w 441"/>
                  <a:gd name="T57" fmla="*/ 357 h 441"/>
                  <a:gd name="T58" fmla="*/ 411 w 441"/>
                  <a:gd name="T59" fmla="*/ 319 h 441"/>
                  <a:gd name="T60" fmla="*/ 426 w 441"/>
                  <a:gd name="T61" fmla="*/ 283 h 441"/>
                  <a:gd name="T62" fmla="*/ 434 w 441"/>
                  <a:gd name="T63" fmla="*/ 240 h 441"/>
                  <a:gd name="T64" fmla="*/ 356 w 441"/>
                  <a:gd name="T65" fmla="*/ 256 h 441"/>
                  <a:gd name="T66" fmla="*/ 284 w 441"/>
                  <a:gd name="T67" fmla="*/ 213 h 441"/>
                  <a:gd name="T68" fmla="*/ 361 w 441"/>
                  <a:gd name="T69" fmla="*/ 220 h 441"/>
                  <a:gd name="T70" fmla="*/ 275 w 441"/>
                  <a:gd name="T71" fmla="*/ 335 h 441"/>
                  <a:gd name="T72" fmla="*/ 335 w 441"/>
                  <a:gd name="T73" fmla="*/ 276 h 441"/>
                  <a:gd name="T74" fmla="*/ 178 w 441"/>
                  <a:gd name="T75" fmla="*/ 341 h 441"/>
                  <a:gd name="T76" fmla="*/ 263 w 441"/>
                  <a:gd name="T77" fmla="*/ 341 h 441"/>
                  <a:gd name="T78" fmla="*/ 185 w 441"/>
                  <a:gd name="T79" fmla="*/ 358 h 441"/>
                  <a:gd name="T80" fmla="*/ 186 w 441"/>
                  <a:gd name="T81" fmla="*/ 220 h 441"/>
                  <a:gd name="T82" fmla="*/ 221 w 441"/>
                  <a:gd name="T83" fmla="*/ 255 h 441"/>
                  <a:gd name="T84" fmla="*/ 106 w 441"/>
                  <a:gd name="T85" fmla="*/ 277 h 441"/>
                  <a:gd name="T86" fmla="*/ 165 w 441"/>
                  <a:gd name="T87" fmla="*/ 337 h 441"/>
                  <a:gd name="T88" fmla="*/ 100 w 441"/>
                  <a:gd name="T89" fmla="*/ 180 h 441"/>
                  <a:gd name="T90" fmla="*/ 100 w 441"/>
                  <a:gd name="T91" fmla="*/ 264 h 441"/>
                  <a:gd name="T92" fmla="*/ 83 w 441"/>
                  <a:gd name="T93" fmla="*/ 187 h 441"/>
                  <a:gd name="T94" fmla="*/ 148 w 441"/>
                  <a:gd name="T95" fmla="*/ 100 h 441"/>
                  <a:gd name="T96" fmla="*/ 168 w 441"/>
                  <a:gd name="T97" fmla="*/ 182 h 441"/>
                  <a:gd name="T98" fmla="*/ 119 w 441"/>
                  <a:gd name="T99" fmla="*/ 122 h 441"/>
                  <a:gd name="T100" fmla="*/ 211 w 441"/>
                  <a:gd name="T101" fmla="*/ 157 h 441"/>
                  <a:gd name="T102" fmla="*/ 219 w 441"/>
                  <a:gd name="T103" fmla="*/ 80 h 441"/>
                  <a:gd name="T104" fmla="*/ 319 w 441"/>
                  <a:gd name="T105" fmla="*/ 121 h 441"/>
                  <a:gd name="T106" fmla="*/ 270 w 441"/>
                  <a:gd name="T107" fmla="*/ 181 h 441"/>
                  <a:gd name="T108" fmla="*/ 290 w 441"/>
                  <a:gd name="T109" fmla="*/ 99 h 4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441" h="441">
                    <a:moveTo>
                      <a:pt x="441" y="232"/>
                    </a:moveTo>
                    <a:cubicBezTo>
                      <a:pt x="441" y="209"/>
                      <a:pt x="441" y="209"/>
                      <a:pt x="441" y="209"/>
                    </a:cubicBezTo>
                    <a:cubicBezTo>
                      <a:pt x="441" y="205"/>
                      <a:pt x="438" y="201"/>
                      <a:pt x="434" y="201"/>
                    </a:cubicBezTo>
                    <a:cubicBezTo>
                      <a:pt x="401" y="196"/>
                      <a:pt x="401" y="196"/>
                      <a:pt x="401" y="196"/>
                    </a:cubicBezTo>
                    <a:cubicBezTo>
                      <a:pt x="400" y="188"/>
                      <a:pt x="398" y="181"/>
                      <a:pt x="396" y="173"/>
                    </a:cubicBezTo>
                    <a:cubicBezTo>
                      <a:pt x="425" y="156"/>
                      <a:pt x="425" y="156"/>
                      <a:pt x="425" y="156"/>
                    </a:cubicBezTo>
                    <a:cubicBezTo>
                      <a:pt x="428" y="154"/>
                      <a:pt x="430" y="149"/>
                      <a:pt x="428" y="145"/>
                    </a:cubicBezTo>
                    <a:cubicBezTo>
                      <a:pt x="420" y="125"/>
                      <a:pt x="420" y="125"/>
                      <a:pt x="420" y="125"/>
                    </a:cubicBezTo>
                    <a:cubicBezTo>
                      <a:pt x="418" y="121"/>
                      <a:pt x="414" y="119"/>
                      <a:pt x="410" y="120"/>
                    </a:cubicBezTo>
                    <a:cubicBezTo>
                      <a:pt x="377" y="128"/>
                      <a:pt x="377" y="128"/>
                      <a:pt x="377" y="128"/>
                    </a:cubicBezTo>
                    <a:cubicBezTo>
                      <a:pt x="374" y="122"/>
                      <a:pt x="370" y="116"/>
                      <a:pt x="365" y="110"/>
                    </a:cubicBezTo>
                    <a:cubicBezTo>
                      <a:pt x="385" y="84"/>
                      <a:pt x="385" y="84"/>
                      <a:pt x="385" y="84"/>
                    </a:cubicBezTo>
                    <a:cubicBezTo>
                      <a:pt x="388" y="80"/>
                      <a:pt x="387" y="75"/>
                      <a:pt x="385" y="72"/>
                    </a:cubicBezTo>
                    <a:cubicBezTo>
                      <a:pt x="369" y="56"/>
                      <a:pt x="369" y="56"/>
                      <a:pt x="369" y="56"/>
                    </a:cubicBezTo>
                    <a:cubicBezTo>
                      <a:pt x="366" y="54"/>
                      <a:pt x="361" y="53"/>
                      <a:pt x="357" y="56"/>
                    </a:cubicBezTo>
                    <a:cubicBezTo>
                      <a:pt x="331" y="76"/>
                      <a:pt x="331" y="76"/>
                      <a:pt x="331" y="76"/>
                    </a:cubicBezTo>
                    <a:cubicBezTo>
                      <a:pt x="325" y="71"/>
                      <a:pt x="318" y="67"/>
                      <a:pt x="311" y="63"/>
                    </a:cubicBezTo>
                    <a:cubicBezTo>
                      <a:pt x="320" y="30"/>
                      <a:pt x="320" y="30"/>
                      <a:pt x="320" y="30"/>
                    </a:cubicBezTo>
                    <a:cubicBezTo>
                      <a:pt x="321" y="26"/>
                      <a:pt x="318" y="22"/>
                      <a:pt x="314" y="20"/>
                    </a:cubicBezTo>
                    <a:cubicBezTo>
                      <a:pt x="294" y="12"/>
                      <a:pt x="294" y="12"/>
                      <a:pt x="294" y="12"/>
                    </a:cubicBezTo>
                    <a:cubicBezTo>
                      <a:pt x="290" y="10"/>
                      <a:pt x="285" y="12"/>
                      <a:pt x="283" y="16"/>
                    </a:cubicBezTo>
                    <a:cubicBezTo>
                      <a:pt x="266" y="44"/>
                      <a:pt x="266" y="44"/>
                      <a:pt x="266" y="44"/>
                    </a:cubicBezTo>
                    <a:cubicBezTo>
                      <a:pt x="259" y="43"/>
                      <a:pt x="252" y="41"/>
                      <a:pt x="245" y="40"/>
                    </a:cubicBezTo>
                    <a:cubicBezTo>
                      <a:pt x="240" y="7"/>
                      <a:pt x="240" y="7"/>
                      <a:pt x="240" y="7"/>
                    </a:cubicBezTo>
                    <a:cubicBezTo>
                      <a:pt x="240" y="3"/>
                      <a:pt x="236" y="0"/>
                      <a:pt x="232" y="0"/>
                    </a:cubicBezTo>
                    <a:cubicBezTo>
                      <a:pt x="209" y="0"/>
                      <a:pt x="209" y="0"/>
                      <a:pt x="209" y="0"/>
                    </a:cubicBezTo>
                    <a:cubicBezTo>
                      <a:pt x="205" y="0"/>
                      <a:pt x="201" y="3"/>
                      <a:pt x="201" y="7"/>
                    </a:cubicBezTo>
                    <a:cubicBezTo>
                      <a:pt x="196" y="40"/>
                      <a:pt x="196" y="40"/>
                      <a:pt x="196" y="40"/>
                    </a:cubicBezTo>
                    <a:cubicBezTo>
                      <a:pt x="188" y="41"/>
                      <a:pt x="181" y="43"/>
                      <a:pt x="173" y="45"/>
                    </a:cubicBezTo>
                    <a:cubicBezTo>
                      <a:pt x="156" y="16"/>
                      <a:pt x="156" y="16"/>
                      <a:pt x="156" y="16"/>
                    </a:cubicBezTo>
                    <a:cubicBezTo>
                      <a:pt x="154" y="13"/>
                      <a:pt x="149" y="11"/>
                      <a:pt x="145" y="13"/>
                    </a:cubicBezTo>
                    <a:cubicBezTo>
                      <a:pt x="125" y="21"/>
                      <a:pt x="125" y="21"/>
                      <a:pt x="125" y="21"/>
                    </a:cubicBezTo>
                    <a:cubicBezTo>
                      <a:pt x="121" y="23"/>
                      <a:pt x="119" y="27"/>
                      <a:pt x="120" y="31"/>
                    </a:cubicBezTo>
                    <a:cubicBezTo>
                      <a:pt x="128" y="64"/>
                      <a:pt x="128" y="64"/>
                      <a:pt x="128" y="64"/>
                    </a:cubicBezTo>
                    <a:cubicBezTo>
                      <a:pt x="122" y="67"/>
                      <a:pt x="116" y="71"/>
                      <a:pt x="111" y="76"/>
                    </a:cubicBezTo>
                    <a:cubicBezTo>
                      <a:pt x="84" y="56"/>
                      <a:pt x="84" y="56"/>
                      <a:pt x="84" y="56"/>
                    </a:cubicBezTo>
                    <a:cubicBezTo>
                      <a:pt x="80" y="53"/>
                      <a:pt x="75" y="54"/>
                      <a:pt x="72" y="56"/>
                    </a:cubicBezTo>
                    <a:cubicBezTo>
                      <a:pt x="57" y="72"/>
                      <a:pt x="57" y="72"/>
                      <a:pt x="57" y="72"/>
                    </a:cubicBezTo>
                    <a:cubicBezTo>
                      <a:pt x="54" y="75"/>
                      <a:pt x="53" y="80"/>
                      <a:pt x="56" y="84"/>
                    </a:cubicBezTo>
                    <a:cubicBezTo>
                      <a:pt x="76" y="110"/>
                      <a:pt x="76" y="110"/>
                      <a:pt x="76" y="110"/>
                    </a:cubicBezTo>
                    <a:cubicBezTo>
                      <a:pt x="71" y="117"/>
                      <a:pt x="67" y="123"/>
                      <a:pt x="63" y="130"/>
                    </a:cubicBezTo>
                    <a:cubicBezTo>
                      <a:pt x="31" y="122"/>
                      <a:pt x="31" y="122"/>
                      <a:pt x="31" y="122"/>
                    </a:cubicBezTo>
                    <a:cubicBezTo>
                      <a:pt x="27" y="121"/>
                      <a:pt x="22" y="123"/>
                      <a:pt x="20" y="127"/>
                    </a:cubicBezTo>
                    <a:cubicBezTo>
                      <a:pt x="12" y="147"/>
                      <a:pt x="12" y="147"/>
                      <a:pt x="12" y="147"/>
                    </a:cubicBezTo>
                    <a:cubicBezTo>
                      <a:pt x="10" y="151"/>
                      <a:pt x="12" y="156"/>
                      <a:pt x="16" y="158"/>
                    </a:cubicBezTo>
                    <a:cubicBezTo>
                      <a:pt x="45" y="175"/>
                      <a:pt x="45" y="175"/>
                      <a:pt x="45" y="175"/>
                    </a:cubicBezTo>
                    <a:cubicBezTo>
                      <a:pt x="43" y="182"/>
                      <a:pt x="41" y="189"/>
                      <a:pt x="40" y="196"/>
                    </a:cubicBezTo>
                    <a:cubicBezTo>
                      <a:pt x="7" y="201"/>
                      <a:pt x="7" y="201"/>
                      <a:pt x="7" y="201"/>
                    </a:cubicBezTo>
                    <a:cubicBezTo>
                      <a:pt x="3" y="201"/>
                      <a:pt x="0" y="205"/>
                      <a:pt x="0" y="209"/>
                    </a:cubicBezTo>
                    <a:cubicBezTo>
                      <a:pt x="0" y="232"/>
                      <a:pt x="0" y="232"/>
                      <a:pt x="0" y="232"/>
                    </a:cubicBezTo>
                    <a:cubicBezTo>
                      <a:pt x="0" y="236"/>
                      <a:pt x="3" y="240"/>
                      <a:pt x="7" y="240"/>
                    </a:cubicBezTo>
                    <a:cubicBezTo>
                      <a:pt x="40" y="245"/>
                      <a:pt x="40" y="245"/>
                      <a:pt x="40" y="245"/>
                    </a:cubicBezTo>
                    <a:cubicBezTo>
                      <a:pt x="42" y="253"/>
                      <a:pt x="43" y="260"/>
                      <a:pt x="45" y="268"/>
                    </a:cubicBezTo>
                    <a:cubicBezTo>
                      <a:pt x="16" y="285"/>
                      <a:pt x="16" y="285"/>
                      <a:pt x="16" y="285"/>
                    </a:cubicBezTo>
                    <a:cubicBezTo>
                      <a:pt x="13" y="287"/>
                      <a:pt x="11" y="292"/>
                      <a:pt x="13" y="296"/>
                    </a:cubicBezTo>
                    <a:cubicBezTo>
                      <a:pt x="21" y="316"/>
                      <a:pt x="21" y="316"/>
                      <a:pt x="21" y="316"/>
                    </a:cubicBezTo>
                    <a:cubicBezTo>
                      <a:pt x="23" y="320"/>
                      <a:pt x="28" y="322"/>
                      <a:pt x="32" y="321"/>
                    </a:cubicBezTo>
                    <a:cubicBezTo>
                      <a:pt x="64" y="313"/>
                      <a:pt x="64" y="313"/>
                      <a:pt x="64" y="313"/>
                    </a:cubicBezTo>
                    <a:cubicBezTo>
                      <a:pt x="68" y="319"/>
                      <a:pt x="72" y="325"/>
                      <a:pt x="76" y="331"/>
                    </a:cubicBezTo>
                    <a:cubicBezTo>
                      <a:pt x="56" y="357"/>
                      <a:pt x="56" y="357"/>
                      <a:pt x="56" y="357"/>
                    </a:cubicBezTo>
                    <a:cubicBezTo>
                      <a:pt x="53" y="361"/>
                      <a:pt x="54" y="366"/>
                      <a:pt x="57" y="369"/>
                    </a:cubicBezTo>
                    <a:cubicBezTo>
                      <a:pt x="72" y="384"/>
                      <a:pt x="72" y="384"/>
                      <a:pt x="72" y="384"/>
                    </a:cubicBezTo>
                    <a:cubicBezTo>
                      <a:pt x="75" y="387"/>
                      <a:pt x="80" y="388"/>
                      <a:pt x="84" y="385"/>
                    </a:cubicBezTo>
                    <a:cubicBezTo>
                      <a:pt x="111" y="365"/>
                      <a:pt x="111" y="365"/>
                      <a:pt x="111" y="365"/>
                    </a:cubicBezTo>
                    <a:cubicBezTo>
                      <a:pt x="117" y="370"/>
                      <a:pt x="123" y="374"/>
                      <a:pt x="130" y="378"/>
                    </a:cubicBezTo>
                    <a:cubicBezTo>
                      <a:pt x="122" y="411"/>
                      <a:pt x="122" y="411"/>
                      <a:pt x="122" y="411"/>
                    </a:cubicBezTo>
                    <a:cubicBezTo>
                      <a:pt x="121" y="415"/>
                      <a:pt x="123" y="419"/>
                      <a:pt x="127" y="421"/>
                    </a:cubicBezTo>
                    <a:cubicBezTo>
                      <a:pt x="147" y="429"/>
                      <a:pt x="147" y="429"/>
                      <a:pt x="147" y="429"/>
                    </a:cubicBezTo>
                    <a:cubicBezTo>
                      <a:pt x="151" y="431"/>
                      <a:pt x="156" y="429"/>
                      <a:pt x="158" y="425"/>
                    </a:cubicBezTo>
                    <a:cubicBezTo>
                      <a:pt x="175" y="397"/>
                      <a:pt x="175" y="397"/>
                      <a:pt x="175" y="397"/>
                    </a:cubicBezTo>
                    <a:cubicBezTo>
                      <a:pt x="182" y="398"/>
                      <a:pt x="189" y="400"/>
                      <a:pt x="196" y="401"/>
                    </a:cubicBezTo>
                    <a:cubicBezTo>
                      <a:pt x="201" y="434"/>
                      <a:pt x="201" y="434"/>
                      <a:pt x="201" y="434"/>
                    </a:cubicBezTo>
                    <a:cubicBezTo>
                      <a:pt x="201" y="438"/>
                      <a:pt x="205" y="441"/>
                      <a:pt x="209" y="441"/>
                    </a:cubicBezTo>
                    <a:cubicBezTo>
                      <a:pt x="232" y="441"/>
                      <a:pt x="232" y="441"/>
                      <a:pt x="232" y="441"/>
                    </a:cubicBezTo>
                    <a:cubicBezTo>
                      <a:pt x="236" y="441"/>
                      <a:pt x="240" y="438"/>
                      <a:pt x="240" y="434"/>
                    </a:cubicBezTo>
                    <a:cubicBezTo>
                      <a:pt x="245" y="401"/>
                      <a:pt x="245" y="401"/>
                      <a:pt x="245" y="401"/>
                    </a:cubicBezTo>
                    <a:cubicBezTo>
                      <a:pt x="253" y="400"/>
                      <a:pt x="260" y="398"/>
                      <a:pt x="268" y="396"/>
                    </a:cubicBezTo>
                    <a:cubicBezTo>
                      <a:pt x="285" y="425"/>
                      <a:pt x="285" y="425"/>
                      <a:pt x="285" y="425"/>
                    </a:cubicBezTo>
                    <a:cubicBezTo>
                      <a:pt x="287" y="428"/>
                      <a:pt x="292" y="430"/>
                      <a:pt x="296" y="428"/>
                    </a:cubicBezTo>
                    <a:cubicBezTo>
                      <a:pt x="316" y="420"/>
                      <a:pt x="316" y="420"/>
                      <a:pt x="316" y="420"/>
                    </a:cubicBezTo>
                    <a:cubicBezTo>
                      <a:pt x="320" y="418"/>
                      <a:pt x="322" y="414"/>
                      <a:pt x="321" y="410"/>
                    </a:cubicBezTo>
                    <a:cubicBezTo>
                      <a:pt x="313" y="377"/>
                      <a:pt x="313" y="377"/>
                      <a:pt x="313" y="377"/>
                    </a:cubicBezTo>
                    <a:cubicBezTo>
                      <a:pt x="319" y="373"/>
                      <a:pt x="325" y="369"/>
                      <a:pt x="331" y="365"/>
                    </a:cubicBezTo>
                    <a:cubicBezTo>
                      <a:pt x="357" y="385"/>
                      <a:pt x="357" y="385"/>
                      <a:pt x="357" y="385"/>
                    </a:cubicBezTo>
                    <a:cubicBezTo>
                      <a:pt x="361" y="388"/>
                      <a:pt x="366" y="387"/>
                      <a:pt x="369" y="384"/>
                    </a:cubicBezTo>
                    <a:cubicBezTo>
                      <a:pt x="385" y="369"/>
                      <a:pt x="385" y="369"/>
                      <a:pt x="385" y="369"/>
                    </a:cubicBezTo>
                    <a:cubicBezTo>
                      <a:pt x="387" y="366"/>
                      <a:pt x="388" y="361"/>
                      <a:pt x="385" y="357"/>
                    </a:cubicBezTo>
                    <a:cubicBezTo>
                      <a:pt x="365" y="331"/>
                      <a:pt x="365" y="331"/>
                      <a:pt x="365" y="331"/>
                    </a:cubicBezTo>
                    <a:cubicBezTo>
                      <a:pt x="370" y="324"/>
                      <a:pt x="374" y="318"/>
                      <a:pt x="378" y="311"/>
                    </a:cubicBezTo>
                    <a:cubicBezTo>
                      <a:pt x="411" y="319"/>
                      <a:pt x="411" y="319"/>
                      <a:pt x="411" y="319"/>
                    </a:cubicBezTo>
                    <a:cubicBezTo>
                      <a:pt x="415" y="320"/>
                      <a:pt x="419" y="318"/>
                      <a:pt x="421" y="314"/>
                    </a:cubicBezTo>
                    <a:cubicBezTo>
                      <a:pt x="429" y="294"/>
                      <a:pt x="429" y="294"/>
                      <a:pt x="429" y="294"/>
                    </a:cubicBezTo>
                    <a:cubicBezTo>
                      <a:pt x="431" y="290"/>
                      <a:pt x="429" y="285"/>
                      <a:pt x="426" y="283"/>
                    </a:cubicBezTo>
                    <a:cubicBezTo>
                      <a:pt x="397" y="266"/>
                      <a:pt x="397" y="266"/>
                      <a:pt x="397" y="266"/>
                    </a:cubicBezTo>
                    <a:cubicBezTo>
                      <a:pt x="398" y="259"/>
                      <a:pt x="400" y="252"/>
                      <a:pt x="401" y="245"/>
                    </a:cubicBezTo>
                    <a:cubicBezTo>
                      <a:pt x="434" y="240"/>
                      <a:pt x="434" y="240"/>
                      <a:pt x="434" y="240"/>
                    </a:cubicBezTo>
                    <a:cubicBezTo>
                      <a:pt x="438" y="240"/>
                      <a:pt x="441" y="236"/>
                      <a:pt x="441" y="232"/>
                    </a:cubicBezTo>
                    <a:close/>
                    <a:moveTo>
                      <a:pt x="361" y="220"/>
                    </a:moveTo>
                    <a:cubicBezTo>
                      <a:pt x="361" y="238"/>
                      <a:pt x="356" y="256"/>
                      <a:pt x="356" y="256"/>
                    </a:cubicBezTo>
                    <a:cubicBezTo>
                      <a:pt x="354" y="264"/>
                      <a:pt x="346" y="267"/>
                      <a:pt x="339" y="263"/>
                    </a:cubicBezTo>
                    <a:cubicBezTo>
                      <a:pt x="284" y="228"/>
                      <a:pt x="284" y="228"/>
                      <a:pt x="284" y="228"/>
                    </a:cubicBezTo>
                    <a:cubicBezTo>
                      <a:pt x="277" y="224"/>
                      <a:pt x="277" y="217"/>
                      <a:pt x="284" y="213"/>
                    </a:cubicBezTo>
                    <a:cubicBezTo>
                      <a:pt x="339" y="178"/>
                      <a:pt x="339" y="178"/>
                      <a:pt x="339" y="178"/>
                    </a:cubicBezTo>
                    <a:cubicBezTo>
                      <a:pt x="346" y="174"/>
                      <a:pt x="354" y="177"/>
                      <a:pt x="356" y="185"/>
                    </a:cubicBezTo>
                    <a:cubicBezTo>
                      <a:pt x="356" y="185"/>
                      <a:pt x="361" y="203"/>
                      <a:pt x="361" y="220"/>
                    </a:cubicBezTo>
                    <a:close/>
                    <a:moveTo>
                      <a:pt x="321" y="321"/>
                    </a:moveTo>
                    <a:cubicBezTo>
                      <a:pt x="308" y="333"/>
                      <a:pt x="292" y="343"/>
                      <a:pt x="292" y="343"/>
                    </a:cubicBezTo>
                    <a:cubicBezTo>
                      <a:pt x="285" y="347"/>
                      <a:pt x="277" y="343"/>
                      <a:pt x="275" y="335"/>
                    </a:cubicBezTo>
                    <a:cubicBezTo>
                      <a:pt x="260" y="272"/>
                      <a:pt x="260" y="272"/>
                      <a:pt x="260" y="272"/>
                    </a:cubicBezTo>
                    <a:cubicBezTo>
                      <a:pt x="258" y="264"/>
                      <a:pt x="263" y="259"/>
                      <a:pt x="271" y="260"/>
                    </a:cubicBezTo>
                    <a:cubicBezTo>
                      <a:pt x="335" y="276"/>
                      <a:pt x="335" y="276"/>
                      <a:pt x="335" y="276"/>
                    </a:cubicBezTo>
                    <a:cubicBezTo>
                      <a:pt x="343" y="278"/>
                      <a:pt x="346" y="285"/>
                      <a:pt x="342" y="292"/>
                    </a:cubicBezTo>
                    <a:cubicBezTo>
                      <a:pt x="342" y="292"/>
                      <a:pt x="333" y="309"/>
                      <a:pt x="321" y="321"/>
                    </a:cubicBezTo>
                    <a:close/>
                    <a:moveTo>
                      <a:pt x="178" y="341"/>
                    </a:moveTo>
                    <a:cubicBezTo>
                      <a:pt x="213" y="285"/>
                      <a:pt x="213" y="285"/>
                      <a:pt x="213" y="285"/>
                    </a:cubicBezTo>
                    <a:cubicBezTo>
                      <a:pt x="217" y="278"/>
                      <a:pt x="224" y="278"/>
                      <a:pt x="228" y="285"/>
                    </a:cubicBezTo>
                    <a:cubicBezTo>
                      <a:pt x="263" y="341"/>
                      <a:pt x="263" y="341"/>
                      <a:pt x="263" y="341"/>
                    </a:cubicBezTo>
                    <a:cubicBezTo>
                      <a:pt x="267" y="348"/>
                      <a:pt x="264" y="356"/>
                      <a:pt x="256" y="358"/>
                    </a:cubicBezTo>
                    <a:cubicBezTo>
                      <a:pt x="256" y="358"/>
                      <a:pt x="238" y="363"/>
                      <a:pt x="221" y="363"/>
                    </a:cubicBezTo>
                    <a:cubicBezTo>
                      <a:pt x="203" y="363"/>
                      <a:pt x="185" y="358"/>
                      <a:pt x="185" y="358"/>
                    </a:cubicBezTo>
                    <a:cubicBezTo>
                      <a:pt x="177" y="356"/>
                      <a:pt x="174" y="348"/>
                      <a:pt x="178" y="341"/>
                    </a:cubicBezTo>
                    <a:close/>
                    <a:moveTo>
                      <a:pt x="221" y="255"/>
                    </a:moveTo>
                    <a:cubicBezTo>
                      <a:pt x="202" y="255"/>
                      <a:pt x="186" y="240"/>
                      <a:pt x="186" y="220"/>
                    </a:cubicBezTo>
                    <a:cubicBezTo>
                      <a:pt x="186" y="201"/>
                      <a:pt x="202" y="186"/>
                      <a:pt x="221" y="186"/>
                    </a:cubicBezTo>
                    <a:cubicBezTo>
                      <a:pt x="240" y="186"/>
                      <a:pt x="255" y="201"/>
                      <a:pt x="255" y="220"/>
                    </a:cubicBezTo>
                    <a:cubicBezTo>
                      <a:pt x="255" y="240"/>
                      <a:pt x="240" y="255"/>
                      <a:pt x="221" y="255"/>
                    </a:cubicBezTo>
                    <a:close/>
                    <a:moveTo>
                      <a:pt x="120" y="322"/>
                    </a:moveTo>
                    <a:cubicBezTo>
                      <a:pt x="108" y="310"/>
                      <a:pt x="99" y="294"/>
                      <a:pt x="99" y="294"/>
                    </a:cubicBezTo>
                    <a:cubicBezTo>
                      <a:pt x="95" y="286"/>
                      <a:pt x="98" y="279"/>
                      <a:pt x="106" y="277"/>
                    </a:cubicBezTo>
                    <a:cubicBezTo>
                      <a:pt x="170" y="262"/>
                      <a:pt x="170" y="262"/>
                      <a:pt x="170" y="262"/>
                    </a:cubicBezTo>
                    <a:cubicBezTo>
                      <a:pt x="178" y="260"/>
                      <a:pt x="182" y="265"/>
                      <a:pt x="181" y="273"/>
                    </a:cubicBezTo>
                    <a:cubicBezTo>
                      <a:pt x="165" y="337"/>
                      <a:pt x="165" y="337"/>
                      <a:pt x="165" y="337"/>
                    </a:cubicBezTo>
                    <a:cubicBezTo>
                      <a:pt x="163" y="345"/>
                      <a:pt x="156" y="348"/>
                      <a:pt x="149" y="344"/>
                    </a:cubicBezTo>
                    <a:cubicBezTo>
                      <a:pt x="149" y="344"/>
                      <a:pt x="133" y="335"/>
                      <a:pt x="120" y="322"/>
                    </a:cubicBezTo>
                    <a:close/>
                    <a:moveTo>
                      <a:pt x="100" y="180"/>
                    </a:moveTo>
                    <a:cubicBezTo>
                      <a:pt x="156" y="215"/>
                      <a:pt x="156" y="215"/>
                      <a:pt x="156" y="215"/>
                    </a:cubicBezTo>
                    <a:cubicBezTo>
                      <a:pt x="163" y="219"/>
                      <a:pt x="163" y="226"/>
                      <a:pt x="156" y="230"/>
                    </a:cubicBezTo>
                    <a:cubicBezTo>
                      <a:pt x="100" y="264"/>
                      <a:pt x="100" y="264"/>
                      <a:pt x="100" y="264"/>
                    </a:cubicBezTo>
                    <a:cubicBezTo>
                      <a:pt x="93" y="269"/>
                      <a:pt x="85" y="266"/>
                      <a:pt x="83" y="258"/>
                    </a:cubicBezTo>
                    <a:cubicBezTo>
                      <a:pt x="83" y="258"/>
                      <a:pt x="78" y="240"/>
                      <a:pt x="78" y="222"/>
                    </a:cubicBezTo>
                    <a:cubicBezTo>
                      <a:pt x="78" y="205"/>
                      <a:pt x="83" y="187"/>
                      <a:pt x="83" y="187"/>
                    </a:cubicBezTo>
                    <a:cubicBezTo>
                      <a:pt x="85" y="179"/>
                      <a:pt x="93" y="176"/>
                      <a:pt x="100" y="180"/>
                    </a:cubicBezTo>
                    <a:close/>
                    <a:moveTo>
                      <a:pt x="119" y="122"/>
                    </a:moveTo>
                    <a:cubicBezTo>
                      <a:pt x="131" y="109"/>
                      <a:pt x="148" y="100"/>
                      <a:pt x="148" y="100"/>
                    </a:cubicBezTo>
                    <a:cubicBezTo>
                      <a:pt x="155" y="96"/>
                      <a:pt x="162" y="100"/>
                      <a:pt x="164" y="108"/>
                    </a:cubicBezTo>
                    <a:cubicBezTo>
                      <a:pt x="179" y="171"/>
                      <a:pt x="179" y="171"/>
                      <a:pt x="179" y="171"/>
                    </a:cubicBezTo>
                    <a:cubicBezTo>
                      <a:pt x="181" y="179"/>
                      <a:pt x="176" y="184"/>
                      <a:pt x="168" y="182"/>
                    </a:cubicBezTo>
                    <a:cubicBezTo>
                      <a:pt x="104" y="167"/>
                      <a:pt x="104" y="167"/>
                      <a:pt x="104" y="167"/>
                    </a:cubicBezTo>
                    <a:cubicBezTo>
                      <a:pt x="96" y="165"/>
                      <a:pt x="93" y="158"/>
                      <a:pt x="97" y="151"/>
                    </a:cubicBezTo>
                    <a:cubicBezTo>
                      <a:pt x="97" y="151"/>
                      <a:pt x="106" y="134"/>
                      <a:pt x="119" y="122"/>
                    </a:cubicBezTo>
                    <a:close/>
                    <a:moveTo>
                      <a:pt x="261" y="102"/>
                    </a:moveTo>
                    <a:cubicBezTo>
                      <a:pt x="227" y="157"/>
                      <a:pt x="227" y="157"/>
                      <a:pt x="227" y="157"/>
                    </a:cubicBezTo>
                    <a:cubicBezTo>
                      <a:pt x="222" y="164"/>
                      <a:pt x="215" y="164"/>
                      <a:pt x="211" y="157"/>
                    </a:cubicBezTo>
                    <a:cubicBezTo>
                      <a:pt x="177" y="102"/>
                      <a:pt x="177" y="102"/>
                      <a:pt x="177" y="102"/>
                    </a:cubicBezTo>
                    <a:cubicBezTo>
                      <a:pt x="172" y="95"/>
                      <a:pt x="175" y="87"/>
                      <a:pt x="183" y="85"/>
                    </a:cubicBezTo>
                    <a:cubicBezTo>
                      <a:pt x="183" y="85"/>
                      <a:pt x="201" y="80"/>
                      <a:pt x="219" y="80"/>
                    </a:cubicBezTo>
                    <a:cubicBezTo>
                      <a:pt x="236" y="80"/>
                      <a:pt x="254" y="85"/>
                      <a:pt x="254" y="85"/>
                    </a:cubicBezTo>
                    <a:cubicBezTo>
                      <a:pt x="262" y="87"/>
                      <a:pt x="265" y="95"/>
                      <a:pt x="261" y="102"/>
                    </a:cubicBezTo>
                    <a:close/>
                    <a:moveTo>
                      <a:pt x="319" y="121"/>
                    </a:moveTo>
                    <a:cubicBezTo>
                      <a:pt x="332" y="133"/>
                      <a:pt x="341" y="149"/>
                      <a:pt x="341" y="149"/>
                    </a:cubicBezTo>
                    <a:cubicBezTo>
                      <a:pt x="345" y="156"/>
                      <a:pt x="342" y="164"/>
                      <a:pt x="334" y="166"/>
                    </a:cubicBezTo>
                    <a:cubicBezTo>
                      <a:pt x="270" y="181"/>
                      <a:pt x="270" y="181"/>
                      <a:pt x="270" y="181"/>
                    </a:cubicBezTo>
                    <a:cubicBezTo>
                      <a:pt x="262" y="183"/>
                      <a:pt x="257" y="178"/>
                      <a:pt x="259" y="170"/>
                    </a:cubicBezTo>
                    <a:cubicBezTo>
                      <a:pt x="274" y="106"/>
                      <a:pt x="274" y="106"/>
                      <a:pt x="274" y="106"/>
                    </a:cubicBezTo>
                    <a:cubicBezTo>
                      <a:pt x="276" y="98"/>
                      <a:pt x="283" y="95"/>
                      <a:pt x="290" y="99"/>
                    </a:cubicBezTo>
                    <a:cubicBezTo>
                      <a:pt x="290" y="99"/>
                      <a:pt x="307" y="108"/>
                      <a:pt x="319" y="121"/>
                    </a:cubicBezTo>
                    <a:close/>
                  </a:path>
                </a:pathLst>
              </a:custGeom>
              <a:solidFill>
                <a:srgbClr val="FFB90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353"/>
              </a:p>
            </p:txBody>
          </p:sp>
          <p:sp>
            <p:nvSpPr>
              <p:cNvPr id="17" name="Freeform 8"/>
              <p:cNvSpPr>
                <a:spLocks/>
              </p:cNvSpPr>
              <p:nvPr userDrawn="1"/>
            </p:nvSpPr>
            <p:spPr bwMode="auto">
              <a:xfrm>
                <a:off x="8040688" y="7580313"/>
                <a:ext cx="2109787" cy="2235200"/>
              </a:xfrm>
              <a:custGeom>
                <a:avLst/>
                <a:gdLst>
                  <a:gd name="T0" fmla="*/ 516 w 601"/>
                  <a:gd name="T1" fmla="*/ 0 h 635"/>
                  <a:gd name="T2" fmla="*/ 296 w 601"/>
                  <a:gd name="T3" fmla="*/ 208 h 635"/>
                  <a:gd name="T4" fmla="*/ 220 w 601"/>
                  <a:gd name="T5" fmla="*/ 195 h 635"/>
                  <a:gd name="T6" fmla="*/ 0 w 601"/>
                  <a:gd name="T7" fmla="*/ 415 h 635"/>
                  <a:gd name="T8" fmla="*/ 220 w 601"/>
                  <a:gd name="T9" fmla="*/ 635 h 635"/>
                  <a:gd name="T10" fmla="*/ 601 w 601"/>
                  <a:gd name="T11" fmla="*/ 635 h 635"/>
                  <a:gd name="T12" fmla="*/ 601 w 601"/>
                  <a:gd name="T13" fmla="*/ 17 h 635"/>
                  <a:gd name="T14" fmla="*/ 516 w 601"/>
                  <a:gd name="T15" fmla="*/ 0 h 6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01" h="635">
                    <a:moveTo>
                      <a:pt x="516" y="0"/>
                    </a:moveTo>
                    <a:cubicBezTo>
                      <a:pt x="398" y="0"/>
                      <a:pt x="302" y="92"/>
                      <a:pt x="296" y="208"/>
                    </a:cubicBezTo>
                    <a:cubicBezTo>
                      <a:pt x="272" y="200"/>
                      <a:pt x="247" y="195"/>
                      <a:pt x="220" y="195"/>
                    </a:cubicBezTo>
                    <a:cubicBezTo>
                      <a:pt x="99" y="195"/>
                      <a:pt x="0" y="293"/>
                      <a:pt x="0" y="415"/>
                    </a:cubicBezTo>
                    <a:cubicBezTo>
                      <a:pt x="0" y="536"/>
                      <a:pt x="99" y="635"/>
                      <a:pt x="220" y="635"/>
                    </a:cubicBezTo>
                    <a:cubicBezTo>
                      <a:pt x="601" y="635"/>
                      <a:pt x="601" y="635"/>
                      <a:pt x="601" y="635"/>
                    </a:cubicBezTo>
                    <a:cubicBezTo>
                      <a:pt x="601" y="17"/>
                      <a:pt x="601" y="17"/>
                      <a:pt x="601" y="17"/>
                    </a:cubicBezTo>
                    <a:cubicBezTo>
                      <a:pt x="575" y="6"/>
                      <a:pt x="546" y="0"/>
                      <a:pt x="516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353"/>
              </a:p>
            </p:txBody>
          </p:sp>
          <p:sp>
            <p:nvSpPr>
              <p:cNvPr id="18" name="Freeform 9"/>
              <p:cNvSpPr>
                <a:spLocks/>
              </p:cNvSpPr>
              <p:nvPr userDrawn="1"/>
            </p:nvSpPr>
            <p:spPr bwMode="auto">
              <a:xfrm>
                <a:off x="12195175" y="7151688"/>
                <a:ext cx="2590800" cy="2663825"/>
              </a:xfrm>
              <a:custGeom>
                <a:avLst/>
                <a:gdLst>
                  <a:gd name="T0" fmla="*/ 738 w 738"/>
                  <a:gd name="T1" fmla="*/ 537 h 757"/>
                  <a:gd name="T2" fmla="*/ 518 w 738"/>
                  <a:gd name="T3" fmla="*/ 317 h 757"/>
                  <a:gd name="T4" fmla="*/ 495 w 738"/>
                  <a:gd name="T5" fmla="*/ 318 h 757"/>
                  <a:gd name="T6" fmla="*/ 518 w 738"/>
                  <a:gd name="T7" fmla="*/ 221 h 757"/>
                  <a:gd name="T8" fmla="*/ 297 w 738"/>
                  <a:gd name="T9" fmla="*/ 0 h 757"/>
                  <a:gd name="T10" fmla="*/ 79 w 738"/>
                  <a:gd name="T11" fmla="*/ 194 h 757"/>
                  <a:gd name="T12" fmla="*/ 0 w 738"/>
                  <a:gd name="T13" fmla="*/ 139 h 757"/>
                  <a:gd name="T14" fmla="*/ 0 w 738"/>
                  <a:gd name="T15" fmla="*/ 757 h 757"/>
                  <a:gd name="T16" fmla="*/ 518 w 738"/>
                  <a:gd name="T17" fmla="*/ 757 h 757"/>
                  <a:gd name="T18" fmla="*/ 738 w 738"/>
                  <a:gd name="T19" fmla="*/ 537 h 7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38" h="757">
                    <a:moveTo>
                      <a:pt x="738" y="537"/>
                    </a:moveTo>
                    <a:cubicBezTo>
                      <a:pt x="738" y="415"/>
                      <a:pt x="639" y="317"/>
                      <a:pt x="518" y="317"/>
                    </a:cubicBezTo>
                    <a:cubicBezTo>
                      <a:pt x="510" y="317"/>
                      <a:pt x="502" y="317"/>
                      <a:pt x="495" y="318"/>
                    </a:cubicBezTo>
                    <a:cubicBezTo>
                      <a:pt x="509" y="289"/>
                      <a:pt x="518" y="256"/>
                      <a:pt x="518" y="221"/>
                    </a:cubicBezTo>
                    <a:cubicBezTo>
                      <a:pt x="518" y="99"/>
                      <a:pt x="419" y="0"/>
                      <a:pt x="297" y="0"/>
                    </a:cubicBezTo>
                    <a:cubicBezTo>
                      <a:pt x="185" y="0"/>
                      <a:pt x="92" y="85"/>
                      <a:pt x="79" y="194"/>
                    </a:cubicBezTo>
                    <a:cubicBezTo>
                      <a:pt x="57" y="171"/>
                      <a:pt x="31" y="151"/>
                      <a:pt x="0" y="139"/>
                    </a:cubicBezTo>
                    <a:cubicBezTo>
                      <a:pt x="0" y="757"/>
                      <a:pt x="0" y="757"/>
                      <a:pt x="0" y="757"/>
                    </a:cubicBezTo>
                    <a:cubicBezTo>
                      <a:pt x="518" y="757"/>
                      <a:pt x="518" y="757"/>
                      <a:pt x="518" y="757"/>
                    </a:cubicBezTo>
                    <a:cubicBezTo>
                      <a:pt x="639" y="757"/>
                      <a:pt x="738" y="658"/>
                      <a:pt x="738" y="53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353"/>
              </a:p>
            </p:txBody>
          </p:sp>
        </p:grpSp>
        <p:sp>
          <p:nvSpPr>
            <p:cNvPr id="19" name="Freeform 42"/>
            <p:cNvSpPr>
              <a:spLocks/>
            </p:cNvSpPr>
            <p:nvPr userDrawn="1"/>
          </p:nvSpPr>
          <p:spPr bwMode="auto">
            <a:xfrm>
              <a:off x="8716653" y="1485604"/>
              <a:ext cx="1403969" cy="840253"/>
            </a:xfrm>
            <a:custGeom>
              <a:avLst/>
              <a:gdLst>
                <a:gd name="T0" fmla="*/ 218 w 242"/>
                <a:gd name="T1" fmla="*/ 72 h 145"/>
                <a:gd name="T2" fmla="*/ 178 w 242"/>
                <a:gd name="T3" fmla="*/ 41 h 145"/>
                <a:gd name="T4" fmla="*/ 178 w 242"/>
                <a:gd name="T5" fmla="*/ 41 h 145"/>
                <a:gd name="T6" fmla="*/ 178 w 242"/>
                <a:gd name="T7" fmla="*/ 41 h 145"/>
                <a:gd name="T8" fmla="*/ 137 w 242"/>
                <a:gd name="T9" fmla="*/ 0 h 145"/>
                <a:gd name="T10" fmla="*/ 100 w 242"/>
                <a:gd name="T11" fmla="*/ 21 h 145"/>
                <a:gd name="T12" fmla="*/ 87 w 242"/>
                <a:gd name="T13" fmla="*/ 19 h 145"/>
                <a:gd name="T14" fmla="*/ 49 w 242"/>
                <a:gd name="T15" fmla="*/ 58 h 145"/>
                <a:gd name="T16" fmla="*/ 49 w 242"/>
                <a:gd name="T17" fmla="*/ 58 h 145"/>
                <a:gd name="T18" fmla="*/ 44 w 242"/>
                <a:gd name="T19" fmla="*/ 58 h 145"/>
                <a:gd name="T20" fmla="*/ 0 w 242"/>
                <a:gd name="T21" fmla="*/ 101 h 145"/>
                <a:gd name="T22" fmla="*/ 44 w 242"/>
                <a:gd name="T23" fmla="*/ 145 h 145"/>
                <a:gd name="T24" fmla="*/ 204 w 242"/>
                <a:gd name="T25" fmla="*/ 145 h 145"/>
                <a:gd name="T26" fmla="*/ 242 w 242"/>
                <a:gd name="T27" fmla="*/ 107 h 145"/>
                <a:gd name="T28" fmla="*/ 218 w 242"/>
                <a:gd name="T29" fmla="*/ 72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42" h="145">
                  <a:moveTo>
                    <a:pt x="218" y="72"/>
                  </a:moveTo>
                  <a:cubicBezTo>
                    <a:pt x="213" y="54"/>
                    <a:pt x="197" y="41"/>
                    <a:pt x="178" y="41"/>
                  </a:cubicBezTo>
                  <a:cubicBezTo>
                    <a:pt x="178" y="41"/>
                    <a:pt x="178" y="41"/>
                    <a:pt x="178" y="41"/>
                  </a:cubicBezTo>
                  <a:cubicBezTo>
                    <a:pt x="178" y="41"/>
                    <a:pt x="178" y="41"/>
                    <a:pt x="178" y="41"/>
                  </a:cubicBezTo>
                  <a:cubicBezTo>
                    <a:pt x="178" y="18"/>
                    <a:pt x="159" y="0"/>
                    <a:pt x="137" y="0"/>
                  </a:cubicBezTo>
                  <a:cubicBezTo>
                    <a:pt x="121" y="0"/>
                    <a:pt x="107" y="8"/>
                    <a:pt x="100" y="21"/>
                  </a:cubicBezTo>
                  <a:cubicBezTo>
                    <a:pt x="96" y="20"/>
                    <a:pt x="92" y="19"/>
                    <a:pt x="87" y="19"/>
                  </a:cubicBezTo>
                  <a:cubicBezTo>
                    <a:pt x="66" y="19"/>
                    <a:pt x="49" y="36"/>
                    <a:pt x="49" y="58"/>
                  </a:cubicBezTo>
                  <a:cubicBezTo>
                    <a:pt x="49" y="58"/>
                    <a:pt x="49" y="58"/>
                    <a:pt x="49" y="58"/>
                  </a:cubicBezTo>
                  <a:cubicBezTo>
                    <a:pt x="47" y="58"/>
                    <a:pt x="45" y="58"/>
                    <a:pt x="44" y="58"/>
                  </a:cubicBezTo>
                  <a:cubicBezTo>
                    <a:pt x="19" y="58"/>
                    <a:pt x="0" y="77"/>
                    <a:pt x="0" y="101"/>
                  </a:cubicBezTo>
                  <a:cubicBezTo>
                    <a:pt x="0" y="125"/>
                    <a:pt x="19" y="145"/>
                    <a:pt x="44" y="145"/>
                  </a:cubicBezTo>
                  <a:cubicBezTo>
                    <a:pt x="204" y="145"/>
                    <a:pt x="204" y="145"/>
                    <a:pt x="204" y="145"/>
                  </a:cubicBezTo>
                  <a:cubicBezTo>
                    <a:pt x="225" y="145"/>
                    <a:pt x="242" y="128"/>
                    <a:pt x="242" y="107"/>
                  </a:cubicBezTo>
                  <a:cubicBezTo>
                    <a:pt x="242" y="91"/>
                    <a:pt x="232" y="78"/>
                    <a:pt x="218" y="7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53" dirty="0"/>
            </a:p>
          </p:txBody>
        </p:sp>
        <p:sp>
          <p:nvSpPr>
            <p:cNvPr id="20" name="Freeform 19"/>
            <p:cNvSpPr>
              <a:spLocks/>
            </p:cNvSpPr>
            <p:nvPr userDrawn="1"/>
          </p:nvSpPr>
          <p:spPr bwMode="auto">
            <a:xfrm flipH="1">
              <a:off x="7542827" y="2325857"/>
              <a:ext cx="731512" cy="297301"/>
            </a:xfrm>
            <a:custGeom>
              <a:avLst/>
              <a:gdLst>
                <a:gd name="T0" fmla="*/ 621 w 696"/>
                <a:gd name="T1" fmla="*/ 132 h 281"/>
                <a:gd name="T2" fmla="*/ 609 w 696"/>
                <a:gd name="T3" fmla="*/ 133 h 281"/>
                <a:gd name="T4" fmla="*/ 469 w 696"/>
                <a:gd name="T5" fmla="*/ 0 h 281"/>
                <a:gd name="T6" fmla="*/ 333 w 696"/>
                <a:gd name="T7" fmla="*/ 104 h 281"/>
                <a:gd name="T8" fmla="*/ 258 w 696"/>
                <a:gd name="T9" fmla="*/ 73 h 281"/>
                <a:gd name="T10" fmla="*/ 155 w 696"/>
                <a:gd name="T11" fmla="*/ 167 h 281"/>
                <a:gd name="T12" fmla="*/ 105 w 696"/>
                <a:gd name="T13" fmla="*/ 190 h 281"/>
                <a:gd name="T14" fmla="*/ 58 w 696"/>
                <a:gd name="T15" fmla="*/ 166 h 281"/>
                <a:gd name="T16" fmla="*/ 0 w 696"/>
                <a:gd name="T17" fmla="*/ 224 h 281"/>
                <a:gd name="T18" fmla="*/ 58 w 696"/>
                <a:gd name="T19" fmla="*/ 281 h 281"/>
                <a:gd name="T20" fmla="*/ 74 w 696"/>
                <a:gd name="T21" fmla="*/ 281 h 281"/>
                <a:gd name="T22" fmla="*/ 264 w 696"/>
                <a:gd name="T23" fmla="*/ 281 h 281"/>
                <a:gd name="T24" fmla="*/ 370 w 696"/>
                <a:gd name="T25" fmla="*/ 281 h 281"/>
                <a:gd name="T26" fmla="*/ 626 w 696"/>
                <a:gd name="T27" fmla="*/ 281 h 281"/>
                <a:gd name="T28" fmla="*/ 626 w 696"/>
                <a:gd name="T29" fmla="*/ 281 h 281"/>
                <a:gd name="T30" fmla="*/ 696 w 696"/>
                <a:gd name="T31" fmla="*/ 207 h 281"/>
                <a:gd name="T32" fmla="*/ 621 w 696"/>
                <a:gd name="T33" fmla="*/ 132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96" h="281">
                  <a:moveTo>
                    <a:pt x="621" y="132"/>
                  </a:moveTo>
                  <a:cubicBezTo>
                    <a:pt x="617" y="132"/>
                    <a:pt x="613" y="133"/>
                    <a:pt x="609" y="133"/>
                  </a:cubicBezTo>
                  <a:cubicBezTo>
                    <a:pt x="606" y="59"/>
                    <a:pt x="544" y="0"/>
                    <a:pt x="469" y="0"/>
                  </a:cubicBezTo>
                  <a:cubicBezTo>
                    <a:pt x="403" y="0"/>
                    <a:pt x="349" y="44"/>
                    <a:pt x="333" y="104"/>
                  </a:cubicBezTo>
                  <a:cubicBezTo>
                    <a:pt x="314" y="85"/>
                    <a:pt x="287" y="73"/>
                    <a:pt x="258" y="73"/>
                  </a:cubicBezTo>
                  <a:cubicBezTo>
                    <a:pt x="204" y="73"/>
                    <a:pt x="160" y="114"/>
                    <a:pt x="155" y="167"/>
                  </a:cubicBezTo>
                  <a:cubicBezTo>
                    <a:pt x="136" y="170"/>
                    <a:pt x="119" y="178"/>
                    <a:pt x="105" y="190"/>
                  </a:cubicBezTo>
                  <a:cubicBezTo>
                    <a:pt x="95" y="175"/>
                    <a:pt x="78" y="166"/>
                    <a:pt x="58" y="166"/>
                  </a:cubicBezTo>
                  <a:cubicBezTo>
                    <a:pt x="26" y="166"/>
                    <a:pt x="0" y="192"/>
                    <a:pt x="0" y="224"/>
                  </a:cubicBezTo>
                  <a:cubicBezTo>
                    <a:pt x="0" y="256"/>
                    <a:pt x="26" y="281"/>
                    <a:pt x="58" y="281"/>
                  </a:cubicBezTo>
                  <a:cubicBezTo>
                    <a:pt x="74" y="281"/>
                    <a:pt x="74" y="281"/>
                    <a:pt x="74" y="281"/>
                  </a:cubicBezTo>
                  <a:cubicBezTo>
                    <a:pt x="264" y="281"/>
                    <a:pt x="264" y="281"/>
                    <a:pt x="264" y="281"/>
                  </a:cubicBezTo>
                  <a:cubicBezTo>
                    <a:pt x="370" y="281"/>
                    <a:pt x="370" y="281"/>
                    <a:pt x="370" y="281"/>
                  </a:cubicBezTo>
                  <a:cubicBezTo>
                    <a:pt x="626" y="281"/>
                    <a:pt x="626" y="281"/>
                    <a:pt x="626" y="281"/>
                  </a:cubicBezTo>
                  <a:cubicBezTo>
                    <a:pt x="626" y="281"/>
                    <a:pt x="626" y="281"/>
                    <a:pt x="626" y="281"/>
                  </a:cubicBezTo>
                  <a:cubicBezTo>
                    <a:pt x="665" y="279"/>
                    <a:pt x="696" y="247"/>
                    <a:pt x="696" y="207"/>
                  </a:cubicBezTo>
                  <a:cubicBezTo>
                    <a:pt x="696" y="166"/>
                    <a:pt x="662" y="132"/>
                    <a:pt x="621" y="13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53"/>
            </a:p>
          </p:txBody>
        </p:sp>
      </p:grpSp>
    </p:spTree>
    <p:extLst>
      <p:ext uri="{BB962C8B-B14F-4D97-AF65-F5344CB8AC3E}">
        <p14:creationId xmlns:p14="http://schemas.microsoft.com/office/powerpoint/2010/main" val="21029158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359016" y="3877271"/>
            <a:ext cx="8367343" cy="1794661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66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59016" y="2075840"/>
            <a:ext cx="9562678" cy="1801436"/>
          </a:xfrm>
          <a:noFill/>
        </p:spPr>
        <p:txBody>
          <a:bodyPr lIns="146304" tIns="91440" rIns="146304" bIns="91440" anchor="t" anchorCtr="0"/>
          <a:lstStyle>
            <a:lvl1pPr>
              <a:defRPr sz="6275" spc="-98" baseline="0">
                <a:gradFill>
                  <a:gsLst>
                    <a:gs pos="3333">
                      <a:schemeClr val="tx2"/>
                    </a:gs>
                    <a:gs pos="3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597670" y="6118623"/>
            <a:ext cx="1674027" cy="2689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0865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59016" y="1189177"/>
            <a:ext cx="11473970" cy="2514868"/>
          </a:xfrm>
        </p:spPr>
        <p:txBody>
          <a:bodyPr lIns="164592" rIns="164592"/>
          <a:lstStyle>
            <a:lvl1pPr marL="0" indent="0">
              <a:buNone/>
              <a:defRPr sz="470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615"/>
            </a:lvl2pPr>
            <a:lvl3pPr marL="224107" indent="0">
              <a:buNone/>
              <a:defRPr/>
            </a:lvl3pPr>
            <a:lvl4pPr marL="448213" indent="0">
              <a:buNone/>
              <a:defRPr/>
            </a:lvl4pPr>
            <a:lvl5pPr marL="67232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58086731"/>
      </p:ext>
    </p:extLst>
  </p:cSld>
  <p:clrMapOvr>
    <a:masterClrMapping/>
  </p:clrMapOvr>
  <p:transition>
    <p:fade/>
  </p:transition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59016" y="1189177"/>
            <a:ext cx="11473970" cy="2514868"/>
          </a:xfrm>
        </p:spPr>
        <p:txBody>
          <a:bodyPr lIns="164592" rIns="164592"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615"/>
            </a:lvl2pPr>
            <a:lvl3pPr marL="224107" indent="0">
              <a:buNone/>
              <a:defRPr/>
            </a:lvl3pPr>
            <a:lvl4pPr marL="448213" indent="0">
              <a:buNone/>
              <a:defRPr/>
            </a:lvl4pPr>
            <a:lvl5pPr marL="67232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8832666"/>
      </p:ext>
    </p:extLst>
  </p:cSld>
  <p:clrMapOvr>
    <a:masterClrMapping/>
  </p:clrMapOvr>
  <p:transition>
    <p:fade/>
  </p:transition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59016" y="1189177"/>
            <a:ext cx="11473970" cy="2603325"/>
          </a:xfrm>
        </p:spPr>
        <p:txBody>
          <a:bodyPr wrap="square">
            <a:spAutoFit/>
          </a:bodyPr>
          <a:lstStyle>
            <a:lvl1pPr>
              <a:defRPr sz="470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965572"/>
      </p:ext>
    </p:extLst>
  </p:cSld>
  <p:clrMapOvr>
    <a:masterClrMapping/>
  </p:clrMapOvr>
  <p:transition>
    <p:fade/>
  </p:transition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59016" y="1189177"/>
            <a:ext cx="11473970" cy="2603325"/>
          </a:xfrm>
        </p:spPr>
        <p:txBody>
          <a:bodyPr wrap="square">
            <a:spAutoFit/>
          </a:bodyPr>
          <a:lstStyle>
            <a:lvl1pPr>
              <a:defRPr sz="4706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04771168"/>
      </p:ext>
    </p:extLst>
  </p:cSld>
  <p:clrMapOvr>
    <a:masterClrMapping/>
  </p:clrMapOvr>
  <p:transition>
    <p:fade/>
  </p:transition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59017" y="1189176"/>
            <a:ext cx="5498540" cy="3021966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4184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2615"/>
            </a:lvl2pPr>
            <a:lvl3pPr marL="227219" indent="0">
              <a:buNone/>
              <a:tabLst/>
              <a:defRPr sz="2615"/>
            </a:lvl3pPr>
            <a:lvl4pPr marL="451326" indent="0">
              <a:buNone/>
              <a:defRPr/>
            </a:lvl4pPr>
            <a:lvl5pPr marL="672320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335004" y="1187644"/>
            <a:ext cx="5498540" cy="3021966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4184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2615"/>
            </a:lvl2pPr>
            <a:lvl3pPr marL="227219" indent="0">
              <a:buNone/>
              <a:tabLst/>
              <a:defRPr sz="2615"/>
            </a:lvl3pPr>
            <a:lvl4pPr marL="451326" indent="0">
              <a:buNone/>
              <a:defRPr/>
            </a:lvl4pPr>
            <a:lvl5pPr marL="672320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3658507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44373996"/>
      </p:ext>
    </p:extLst>
  </p:cSld>
  <p:clrMapOvr>
    <a:masterClrMapping/>
  </p:clrMapOvr>
  <p:transition>
    <p:fade/>
  </p:transition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59017" y="1187644"/>
            <a:ext cx="5498540" cy="3021966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4184"/>
            </a:lvl1pPr>
            <a:lvl2pPr marL="0" indent="0">
              <a:buNone/>
              <a:defRPr sz="2615"/>
            </a:lvl2pPr>
            <a:lvl3pPr marL="227219" indent="0">
              <a:buNone/>
              <a:tabLst/>
              <a:defRPr sz="2615"/>
            </a:lvl3pPr>
            <a:lvl4pPr marL="451326" indent="0">
              <a:buNone/>
              <a:defRPr/>
            </a:lvl4pPr>
            <a:lvl5pPr marL="672320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335004" y="1187644"/>
            <a:ext cx="5498540" cy="3021966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4184"/>
            </a:lvl1pPr>
            <a:lvl2pPr marL="0" indent="0">
              <a:buNone/>
              <a:defRPr sz="2615"/>
            </a:lvl2pPr>
            <a:lvl3pPr marL="227219" indent="0">
              <a:buNone/>
              <a:tabLst/>
              <a:defRPr sz="2615"/>
            </a:lvl3pPr>
            <a:lvl4pPr marL="451326" indent="0">
              <a:buNone/>
              <a:defRPr/>
            </a:lvl4pPr>
            <a:lvl5pPr marL="672320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7922013"/>
      </p:ext>
    </p:extLst>
  </p:cSld>
  <p:clrMapOvr>
    <a:masterClrMapping/>
  </p:clrMapOvr>
  <p:transition>
    <p:fade/>
  </p:transition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58456" y="1187644"/>
            <a:ext cx="5498540" cy="3021966"/>
          </a:xfrm>
        </p:spPr>
        <p:txBody>
          <a:bodyPr wrap="square">
            <a:spAutoFit/>
          </a:bodyPr>
          <a:lstStyle>
            <a:lvl1pPr marL="281691" indent="-281691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4184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725" indent="-228611">
              <a:defRPr sz="2615"/>
            </a:lvl2pPr>
            <a:lvl3pPr marL="685835" indent="-165108">
              <a:tabLst/>
              <a:defRPr sz="2615"/>
            </a:lvl3pPr>
            <a:lvl4pPr marL="863642" indent="-177809">
              <a:defRPr/>
            </a:lvl4pPr>
            <a:lvl5pPr marL="1028751" indent="-165108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335004" y="1187644"/>
            <a:ext cx="5498540" cy="3021966"/>
          </a:xfrm>
        </p:spPr>
        <p:txBody>
          <a:bodyPr wrap="square">
            <a:spAutoFit/>
          </a:bodyPr>
          <a:lstStyle>
            <a:lvl1pPr marL="281691" indent="-281691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4184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725" indent="-228611">
              <a:defRPr sz="2615"/>
            </a:lvl2pPr>
            <a:lvl3pPr marL="685835" indent="-165108">
              <a:tabLst/>
              <a:defRPr sz="2615"/>
            </a:lvl3pPr>
            <a:lvl4pPr marL="863642" indent="-177809">
              <a:defRPr/>
            </a:lvl4pPr>
            <a:lvl5pPr marL="1028751" indent="-165108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3741230"/>
      </p:ext>
    </p:extLst>
  </p:cSld>
  <p:clrMapOvr>
    <a:masterClrMapping/>
  </p:clrMapOvr>
  <p:transition>
    <p:fade/>
  </p:transition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58854" y="1187644"/>
            <a:ext cx="5498540" cy="3021966"/>
          </a:xfrm>
        </p:spPr>
        <p:txBody>
          <a:bodyPr wrap="square">
            <a:spAutoFit/>
          </a:bodyPr>
          <a:lstStyle>
            <a:lvl1pPr marL="281691" indent="-281691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4184"/>
            </a:lvl1pPr>
            <a:lvl2pPr marL="520725" indent="-228611">
              <a:defRPr sz="2615"/>
            </a:lvl2pPr>
            <a:lvl3pPr marL="685835" indent="-165108">
              <a:tabLst/>
              <a:defRPr sz="2615"/>
            </a:lvl3pPr>
            <a:lvl4pPr marL="863642" indent="-177809">
              <a:defRPr/>
            </a:lvl4pPr>
            <a:lvl5pPr marL="1028751" indent="-165108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335004" y="1187644"/>
            <a:ext cx="5498540" cy="3021966"/>
          </a:xfrm>
        </p:spPr>
        <p:txBody>
          <a:bodyPr wrap="square">
            <a:spAutoFit/>
          </a:bodyPr>
          <a:lstStyle>
            <a:lvl1pPr marL="281691" indent="-281691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4184"/>
            </a:lvl1pPr>
            <a:lvl2pPr marL="520725" indent="-228611">
              <a:defRPr sz="2615"/>
            </a:lvl2pPr>
            <a:lvl3pPr marL="685835" indent="-165108">
              <a:tabLst/>
              <a:defRPr sz="2615"/>
            </a:lvl3pPr>
            <a:lvl4pPr marL="863642" indent="-177809">
              <a:defRPr/>
            </a:lvl4pPr>
            <a:lvl5pPr marL="1028751" indent="-165108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1182987"/>
      </p:ext>
    </p:extLst>
  </p:cSld>
  <p:clrMapOvr>
    <a:masterClrMapping/>
  </p:clrMapOvr>
  <p:transition>
    <p:fade/>
  </p:transition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09025135"/>
      </p:ext>
    </p:extLst>
  </p:cSld>
  <p:clrMapOvr>
    <a:masterClrMapping/>
  </p:clrMapOvr>
  <p:transition>
    <p:fade/>
  </p:transition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9017" y="1186356"/>
            <a:ext cx="9562680" cy="2697988"/>
          </a:xfrm>
          <a:noFill/>
        </p:spPr>
        <p:txBody>
          <a:bodyPr tIns="91440" bIns="91440" anchor="t" anchorCtr="0"/>
          <a:lstStyle>
            <a:lvl1pPr>
              <a:defRPr sz="7844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359018" y="3877281"/>
            <a:ext cx="9562678" cy="1793881"/>
          </a:xfrm>
          <a:noFill/>
        </p:spPr>
        <p:txBody>
          <a:bodyPr lIns="182880" tIns="146304" rIns="182880" bIns="146304">
            <a:noAutofit/>
          </a:bodyPr>
          <a:lstStyle>
            <a:lvl1pPr marL="0" indent="0">
              <a:spcBef>
                <a:spcPts val="0"/>
              </a:spcBef>
              <a:buNone/>
              <a:defRPr sz="366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5084874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9016" y="1186356"/>
            <a:ext cx="9562679" cy="2697988"/>
          </a:xfrm>
          <a:noFill/>
        </p:spPr>
        <p:txBody>
          <a:bodyPr tIns="91440" bIns="91440" anchor="t" anchorCtr="0"/>
          <a:lstStyle>
            <a:lvl1pPr>
              <a:defRPr lang="en-US" sz="7844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13468774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9016" y="2931082"/>
            <a:ext cx="11473970" cy="1267431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844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42357354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9017" y="2931082"/>
            <a:ext cx="11462090" cy="1267431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844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9842329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9016" y="2931082"/>
            <a:ext cx="11473970" cy="1267431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844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2033673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0-50 Right Photo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9015" y="1217198"/>
            <a:ext cx="5498540" cy="1973318"/>
          </a:xfrm>
        </p:spPr>
        <p:txBody>
          <a:bodyPr wrap="square">
            <a:spAutoFit/>
          </a:bodyPr>
          <a:lstStyle>
            <a:lvl1pPr>
              <a:defRPr sz="647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50/50 photo layout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6097037" y="1"/>
            <a:ext cx="6094963" cy="6858000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50000"/>
              </a:lnSpc>
              <a:spcBef>
                <a:spcPts val="0"/>
              </a:spcBef>
              <a:buNone/>
              <a:defRPr sz="3660" baseline="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on icon below</a:t>
            </a:r>
            <a:br>
              <a:rPr lang="en-US" dirty="0"/>
            </a:br>
            <a:r>
              <a:rPr lang="en-US" dirty="0"/>
              <a:t>to insert a new photo</a:t>
            </a:r>
          </a:p>
        </p:txBody>
      </p:sp>
    </p:spTree>
    <p:extLst>
      <p:ext uri="{BB962C8B-B14F-4D97-AF65-F5344CB8AC3E}">
        <p14:creationId xmlns:p14="http://schemas.microsoft.com/office/powerpoint/2010/main" val="376288954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91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15208224"/>
      </p:ext>
    </p:extLst>
  </p:cSld>
  <p:clrMapOvr>
    <a:masterClrMapping/>
  </p:clrMapOvr>
  <p:transition>
    <p:fade/>
  </p:transition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4326921"/>
      </p:ext>
    </p:extLst>
  </p:cSld>
  <p:clrMapOvr>
    <a:masterClrMapping/>
  </p:clrMapOvr>
  <p:transition>
    <p:fade/>
  </p:transition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674704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348596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016208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3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2" tIns="45722" rIns="45722" bIns="457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45" fontAlgn="base">
              <a:spcBef>
                <a:spcPct val="0"/>
              </a:spcBef>
              <a:spcAft>
                <a:spcPct val="0"/>
              </a:spcAft>
            </a:pPr>
            <a:endParaRPr lang="en-US" sz="1765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59017" y="1197325"/>
            <a:ext cx="11473968" cy="2530963"/>
          </a:xfrm>
        </p:spPr>
        <p:txBody>
          <a:bodyPr/>
          <a:lstStyle>
            <a:lvl1pPr marL="0" indent="0">
              <a:buNone/>
              <a:defRPr sz="4184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741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3117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553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340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5195507"/>
      </p:ext>
    </p:extLst>
  </p:cSld>
  <p:clrMapOvr>
    <a:masterClrMapping/>
  </p:clrMapOvr>
  <p:transition>
    <p:fade/>
  </p:transition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377401" y="6198021"/>
            <a:ext cx="11473970" cy="491868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239067" tIns="191254" rIns="239067" bIns="191254" numCol="1" anchor="t" anchorCtr="0" compatLnSpc="1">
            <a:prstTxWarp prst="textNoShape">
              <a:avLst/>
            </a:prstTxWarp>
            <a:spAutoFit/>
          </a:bodyPr>
          <a:lstStyle/>
          <a:p>
            <a:pPr defTabSz="913965" eaLnBrk="0" hangingPunct="0"/>
            <a:r>
              <a:rPr lang="en-US" sz="686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4 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600321" y="3083653"/>
            <a:ext cx="4298847" cy="6906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1112001"/>
      </p:ext>
    </p:extLst>
  </p:cSld>
  <p:clrMapOvr>
    <a:masterClrMapping/>
  </p:clrMapOvr>
  <p:transition>
    <p:fade/>
  </p:transition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359016" y="1189177"/>
            <a:ext cx="11473970" cy="3134438"/>
          </a:xfrm>
          <a:prstGeom prst="rect">
            <a:avLst/>
          </a:prstGeom>
        </p:spPr>
        <p:txBody>
          <a:bodyPr/>
          <a:lstStyle>
            <a:lvl1pPr marL="284803" indent="-284803">
              <a:buClr>
                <a:schemeClr val="tx1"/>
              </a:buClr>
              <a:buSzPct val="90000"/>
              <a:buFont typeface="Arial" pitchFamily="34" charset="0"/>
              <a:buChar char="•"/>
              <a:defRPr sz="4706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268" indent="-275466">
              <a:buClr>
                <a:schemeClr val="tx1"/>
              </a:buClr>
              <a:buSzPct val="90000"/>
              <a:buFont typeface="Arial" pitchFamily="34" charset="0"/>
              <a:buChar char="•"/>
              <a:defRPr sz="4184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5070" indent="-284803">
              <a:buClr>
                <a:schemeClr val="tx1"/>
              </a:buClr>
              <a:buSzPct val="90000"/>
              <a:buFont typeface="Arial" pitchFamily="34" charset="0"/>
              <a:buChar char="•"/>
              <a:defRPr sz="366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9177" indent="-224107">
              <a:buClr>
                <a:schemeClr val="tx1"/>
              </a:buClr>
              <a:buSzPct val="90000"/>
              <a:buFont typeface="Arial" pitchFamily="34" charset="0"/>
              <a:buChar char="•"/>
              <a:defRPr sz="3138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283" indent="-224107">
              <a:buClr>
                <a:schemeClr val="tx1"/>
              </a:buClr>
              <a:buSzPct val="90000"/>
              <a:buFont typeface="Arial" pitchFamily="34" charset="0"/>
              <a:buChar char="•"/>
              <a:defRPr sz="261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4184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12086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bg bwMode="gray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gradFill>
                  <a:gsLst>
                    <a:gs pos="2655">
                      <a:schemeClr val="tx1"/>
                    </a:gs>
                    <a:gs pos="31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24857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8pt Title/26pt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4" y="-2354"/>
            <a:ext cx="8964247" cy="1075884"/>
          </a:xfrm>
        </p:spPr>
        <p:txBody>
          <a:bodyPr lIns="146304" tIns="91440" rIns="146304" bIns="91440"/>
          <a:lstStyle>
            <a:lvl1pPr>
              <a:lnSpc>
                <a:spcPts val="6176"/>
              </a:lnSpc>
              <a:defRPr sz="5686" baseline="0">
                <a:solidFill>
                  <a:schemeClr val="accent1"/>
                </a:solidFill>
              </a:defRPr>
            </a:lvl1pPr>
          </a:lstStyle>
          <a:p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.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69245" y="1396999"/>
            <a:ext cx="8964251" cy="4003179"/>
          </a:xfrm>
        </p:spPr>
        <p:txBody>
          <a:bodyPr>
            <a:normAutofit/>
          </a:bodyPr>
          <a:lstStyle>
            <a:lvl1pPr marL="228770" indent="-228770">
              <a:spcBef>
                <a:spcPts val="1176"/>
              </a:spcBef>
              <a:defRPr sz="3200">
                <a:latin typeface="+mn-lt"/>
              </a:defRPr>
            </a:lvl1pPr>
            <a:lvl2pPr marL="676966" indent="-228770">
              <a:spcBef>
                <a:spcPts val="1176"/>
              </a:spcBef>
              <a:buSzPct val="100000"/>
              <a:buFont typeface="Segoe UI" pitchFamily="34" charset="0"/>
              <a:buChar char="‐"/>
              <a:defRPr sz="3200"/>
            </a:lvl2pPr>
            <a:lvl3pPr marL="1125165" indent="-228770">
              <a:spcBef>
                <a:spcPts val="1176"/>
              </a:spcBef>
              <a:buFont typeface="Wingdings" pitchFamily="2" charset="2"/>
              <a:buChar char="§"/>
              <a:defRPr sz="2400"/>
            </a:lvl3pPr>
            <a:lvl4pPr marL="1568694" indent="-336149">
              <a:spcBef>
                <a:spcPts val="1176"/>
              </a:spcBef>
              <a:buFont typeface="+mj-lt"/>
              <a:buAutoNum type="arabicPeriod"/>
              <a:defRPr sz="2134"/>
            </a:lvl4pPr>
            <a:lvl5pPr marL="1907957" indent="-336149">
              <a:spcBef>
                <a:spcPts val="1176"/>
              </a:spcBef>
              <a:buFont typeface="+mj-lt"/>
              <a:buAutoNum type="alphaLcParenR"/>
              <a:defRPr sz="2134"/>
            </a:lvl5pPr>
          </a:lstStyle>
          <a:p>
            <a:pPr lvl="0"/>
            <a:r>
              <a:rPr lang="en-US"/>
              <a:t>a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39153815"/>
      </p:ext>
    </p:extLst>
  </p:cSld>
  <p:clrMapOvr>
    <a:masterClrMapping/>
  </p:clrMapOvr>
  <p:transition spd="slow"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6779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2396047"/>
          </a:xfrm>
          <a:prstGeom prst="rect">
            <a:avLst/>
          </a:prstGeom>
        </p:spPr>
        <p:txBody>
          <a:bodyPr/>
          <a:lstStyle>
            <a:lvl1pPr marL="284790" indent="-284790">
              <a:buClr>
                <a:schemeClr val="tx1"/>
              </a:buClr>
              <a:buSzPct val="90000"/>
              <a:buFont typeface="Wingdings" panose="05000000000000000000" pitchFamily="2" charset="2"/>
              <a:buChar char="§"/>
              <a:defRPr sz="352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241" indent="-275453">
              <a:buClr>
                <a:schemeClr val="tx1"/>
              </a:buClr>
              <a:buSzPct val="90000"/>
              <a:buFont typeface="Wingdings" panose="05000000000000000000" pitchFamily="2" charset="2"/>
              <a:buChar char="§"/>
              <a:defRPr sz="313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5031" indent="-284790">
              <a:buClr>
                <a:schemeClr val="tx1"/>
              </a:buClr>
              <a:buSzPct val="90000"/>
              <a:buFont typeface="Wingdings" panose="05000000000000000000" pitchFamily="2" charset="2"/>
              <a:buChar char="§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9128" indent="-224097">
              <a:buClr>
                <a:schemeClr val="tx1"/>
              </a:buClr>
              <a:buSzPct val="90000"/>
              <a:buFont typeface="Wingdings" panose="05000000000000000000" pitchFamily="2" charset="2"/>
              <a:buChar char="§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225" indent="-224097">
              <a:buClr>
                <a:schemeClr val="tx1"/>
              </a:buClr>
              <a:buSzPct val="90000"/>
              <a:buFont typeface="Wingdings" panose="05000000000000000000" pitchFamily="2" charset="2"/>
              <a:buChar char="§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rgbClr val="FFFC9E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7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3767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78951" y="2109543"/>
            <a:ext cx="10240453" cy="997196"/>
          </a:xfrm>
        </p:spPr>
        <p:txBody>
          <a:bodyPr anchor="b" anchorCtr="0"/>
          <a:lstStyle>
            <a:lvl1pPr>
              <a:defRPr sz="7198" spc="-150" baseline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978951" y="3425828"/>
            <a:ext cx="10240453" cy="498599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pc="-71" baseline="0">
                <a:gradFill>
                  <a:gsLst>
                    <a:gs pos="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Title</a:t>
            </a:r>
          </a:p>
        </p:txBody>
      </p:sp>
    </p:spTree>
    <p:extLst>
      <p:ext uri="{BB962C8B-B14F-4D97-AF65-F5344CB8AC3E}">
        <p14:creationId xmlns:p14="http://schemas.microsoft.com/office/powerpoint/2010/main" val="3962683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9250" y="2819606"/>
            <a:ext cx="11151917" cy="1218795"/>
          </a:xfrm>
        </p:spPr>
        <p:txBody>
          <a:bodyPr anchor="b" anchorCtr="0"/>
          <a:lstStyle>
            <a:lvl1pPr>
              <a:defRPr sz="8798" spc="-300" baseline="0">
                <a:gradFill>
                  <a:gsLst>
                    <a:gs pos="100000">
                      <a:schemeClr val="bg1"/>
                    </a:gs>
                    <a:gs pos="0">
                      <a:schemeClr val="bg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title style</a:t>
            </a:r>
          </a:p>
        </p:txBody>
      </p:sp>
      <p:pic>
        <p:nvPicPr>
          <p:cNvPr id="3074" name="Picture 2" descr="C:\Users\hannahr\Desktop\ShrPt_h_rgb_r.png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400926" y="5129216"/>
            <a:ext cx="3125013" cy="1038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3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353890" y="6151698"/>
            <a:ext cx="1609762" cy="537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11038564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, Video etc. &quot;special&quot; sl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73394" y="4343402"/>
            <a:ext cx="10240453" cy="461665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lang="en-US" sz="3600" kern="1200" spc="-71" baseline="0" dirty="0">
                <a:gradFill>
                  <a:gsLst>
                    <a:gs pos="2083">
                      <a:schemeClr val="bg2"/>
                    </a:gs>
                    <a:gs pos="99000">
                      <a:schemeClr val="bg2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4564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28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92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56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21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85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4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13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284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973392" y="2739679"/>
            <a:ext cx="10248394" cy="1378644"/>
          </a:xfrm>
        </p:spPr>
        <p:txBody>
          <a:bodyPr anchor="ctr" anchorCtr="0">
            <a:noAutofit/>
            <a:scene3d>
              <a:camera prst="orthographicFront"/>
              <a:lightRig rig="flat" dir="t"/>
            </a:scene3d>
            <a:sp3d>
              <a:contourClr>
                <a:schemeClr val="tx2"/>
              </a:contourClr>
            </a:sp3d>
          </a:bodyPr>
          <a:lstStyle>
            <a:lvl1pPr marL="0" indent="0" algn="l">
              <a:spcBef>
                <a:spcPts val="0"/>
              </a:spcBef>
              <a:buFont typeface="Arial" pitchFamily="34" charset="0"/>
              <a:buNone/>
              <a:defRPr lang="en-US" sz="9598" b="0" kern="1200" cap="none" spc="-399" baseline="0" dirty="0" smtClean="0">
                <a:ln w="3175">
                  <a:noFill/>
                </a:ln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Arial" charset="0"/>
              </a:defRPr>
            </a:lvl1pPr>
          </a:lstStyle>
          <a:p>
            <a:pPr lvl="0"/>
            <a:r>
              <a:rPr lang="en-US" dirty="0"/>
              <a:t>click to…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973394" y="1447800"/>
            <a:ext cx="10240453" cy="914096"/>
          </a:xfrm>
        </p:spPr>
        <p:txBody>
          <a:bodyPr wrap="square" anchor="b">
            <a:noAutofit/>
          </a:bodyPr>
          <a:lstStyle>
            <a:lvl1pPr marL="0" indent="0">
              <a:buNone/>
              <a:defRPr sz="6698" spc="-15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587854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, 2-color, 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19250" y="1447801"/>
            <a:ext cx="11151917" cy="1975927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2396"/>
              </a:spcBef>
              <a:buNone/>
              <a:defRPr sz="400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0" indent="0">
              <a:buNone/>
              <a:defRPr sz="2000">
                <a:gradFill>
                  <a:gsLst>
                    <a:gs pos="100000">
                      <a:schemeClr val="bg2"/>
                    </a:gs>
                    <a:gs pos="6000">
                      <a:schemeClr val="bg2"/>
                    </a:gs>
                  </a:gsLst>
                  <a:lin ang="5400000" scaled="0"/>
                </a:gradFill>
              </a:defRPr>
            </a:lvl2pPr>
            <a:lvl3pPr marL="231390" indent="0">
              <a:buNone/>
              <a:defRPr sz="2000">
                <a:gradFill>
                  <a:gsLst>
                    <a:gs pos="100000">
                      <a:schemeClr val="bg2"/>
                    </a:gs>
                    <a:gs pos="6000">
                      <a:schemeClr val="bg2"/>
                    </a:gs>
                  </a:gsLst>
                  <a:lin ang="5400000" scaled="0"/>
                </a:gradFill>
              </a:defRPr>
            </a:lvl3pPr>
            <a:lvl4pPr marL="456442" indent="0">
              <a:buNone/>
              <a:defRPr sz="2000">
                <a:gradFill>
                  <a:gsLst>
                    <a:gs pos="100000">
                      <a:schemeClr val="bg2"/>
                    </a:gs>
                    <a:gs pos="6000">
                      <a:schemeClr val="bg2"/>
                    </a:gs>
                  </a:gsLst>
                  <a:lin ang="5400000" scaled="0"/>
                </a:gradFill>
              </a:defRPr>
            </a:lvl4pPr>
            <a:lvl5pPr marL="692588" indent="0">
              <a:buNone/>
              <a:defRPr sz="2000">
                <a:gradFill>
                  <a:gsLst>
                    <a:gs pos="100000">
                      <a:schemeClr val="bg2"/>
                    </a:gs>
                    <a:gs pos="6000">
                      <a:schemeClr val="bg2"/>
                    </a:gs>
                  </a:gsLst>
                  <a:lin ang="5400000" scaled="0"/>
                </a:gra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9"/>
          <p:cNvSpPr>
            <a:spLocks noGrp="1"/>
          </p:cNvSpPr>
          <p:nvPr>
            <p:ph type="sldNum" sz="quarter" idx="12"/>
          </p:nvPr>
        </p:nvSpPr>
        <p:spPr>
          <a:xfrm>
            <a:off x="520836" y="6399557"/>
            <a:ext cx="560832" cy="219456"/>
          </a:xfrm>
          <a:prstGeom prst="rect">
            <a:avLst/>
          </a:prstGeom>
        </p:spPr>
        <p:txBody>
          <a:bodyPr lIns="121720" tIns="60860" rIns="121720" bIns="60860" anchor="ctr"/>
          <a:lstStyle>
            <a:lvl1pPr algn="l">
              <a:defRPr sz="1600">
                <a:gradFill>
                  <a:gsLst>
                    <a:gs pos="100000">
                      <a:schemeClr val="bg2"/>
                    </a:gs>
                    <a:gs pos="0">
                      <a:schemeClr val="bg2"/>
                    </a:gs>
                  </a:gsLst>
                  <a:lin ang="5400000" scaled="0"/>
                </a:gradFill>
              </a:defRPr>
            </a:lvl1pPr>
          </a:lstStyle>
          <a:p>
            <a:pPr defTabSz="912847"/>
            <a:fld id="{727B4C2D-45E2-4621-8491-2995EB46A674}" type="slidenum">
              <a:rPr lang="en-US" smtClean="0">
                <a:gradFill>
                  <a:gsLst>
                    <a:gs pos="100000">
                      <a:srgbClr val="797A7D"/>
                    </a:gs>
                    <a:gs pos="0">
                      <a:srgbClr val="797A7D"/>
                    </a:gs>
                  </a:gsLst>
                  <a:lin ang="5400000" scaled="0"/>
                </a:gradFill>
              </a:rPr>
              <a:pPr defTabSz="912847"/>
              <a:t>‹#›</a:t>
            </a:fld>
            <a:endParaRPr lang="en-US" dirty="0">
              <a:gradFill>
                <a:gsLst>
                  <a:gs pos="100000">
                    <a:srgbClr val="797A7D"/>
                  </a:gs>
                  <a:gs pos="0">
                    <a:srgbClr val="797A7D"/>
                  </a:gs>
                </a:gsLst>
                <a:lin ang="5400000" scaled="0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3994444830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, 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19250" y="1447801"/>
            <a:ext cx="11151917" cy="1975927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2396"/>
              </a:spcBef>
              <a:buNone/>
              <a:defRPr sz="4000">
                <a:gradFill>
                  <a:gsLst>
                    <a:gs pos="100000">
                      <a:schemeClr val="bg2"/>
                    </a:gs>
                    <a:gs pos="0">
                      <a:schemeClr val="bg2"/>
                    </a:gs>
                  </a:gsLst>
                  <a:lin ang="5400000" scaled="0"/>
                </a:gradFill>
                <a:latin typeface="+mj-lt"/>
              </a:defRPr>
            </a:lvl1pPr>
            <a:lvl2pPr marL="0" indent="0">
              <a:buNone/>
              <a:defRPr sz="2000">
                <a:gradFill>
                  <a:gsLst>
                    <a:gs pos="100000">
                      <a:schemeClr val="bg2"/>
                    </a:gs>
                    <a:gs pos="0">
                      <a:schemeClr val="bg2"/>
                    </a:gs>
                  </a:gsLst>
                  <a:lin ang="5400000" scaled="0"/>
                </a:gradFill>
              </a:defRPr>
            </a:lvl2pPr>
            <a:lvl3pPr marL="231390" indent="0">
              <a:buNone/>
              <a:defRPr sz="2000">
                <a:gradFill>
                  <a:gsLst>
                    <a:gs pos="100000">
                      <a:schemeClr val="bg2"/>
                    </a:gs>
                    <a:gs pos="0">
                      <a:schemeClr val="bg2"/>
                    </a:gs>
                  </a:gsLst>
                  <a:lin ang="5400000" scaled="0"/>
                </a:gradFill>
              </a:defRPr>
            </a:lvl3pPr>
            <a:lvl4pPr marL="456442" indent="0">
              <a:buNone/>
              <a:defRPr sz="2000">
                <a:gradFill>
                  <a:gsLst>
                    <a:gs pos="100000">
                      <a:schemeClr val="bg2"/>
                    </a:gs>
                    <a:gs pos="0">
                      <a:schemeClr val="bg2"/>
                    </a:gs>
                  </a:gsLst>
                  <a:lin ang="5400000" scaled="0"/>
                </a:gradFill>
              </a:defRPr>
            </a:lvl4pPr>
            <a:lvl5pPr marL="692588" indent="0">
              <a:buNone/>
              <a:defRPr sz="2000">
                <a:gradFill>
                  <a:gsLst>
                    <a:gs pos="100000">
                      <a:schemeClr val="bg2"/>
                    </a:gs>
                    <a:gs pos="0">
                      <a:schemeClr val="bg2"/>
                    </a:gs>
                  </a:gsLst>
                  <a:lin ang="5400000" scaled="0"/>
                </a:gra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9"/>
          <p:cNvSpPr>
            <a:spLocks noGrp="1"/>
          </p:cNvSpPr>
          <p:nvPr>
            <p:ph type="sldNum" sz="quarter" idx="12"/>
          </p:nvPr>
        </p:nvSpPr>
        <p:spPr>
          <a:xfrm>
            <a:off x="520836" y="6399557"/>
            <a:ext cx="560832" cy="219456"/>
          </a:xfrm>
          <a:prstGeom prst="rect">
            <a:avLst/>
          </a:prstGeom>
        </p:spPr>
        <p:txBody>
          <a:bodyPr lIns="121720" tIns="60860" rIns="121720" bIns="60860" anchor="ctr"/>
          <a:lstStyle>
            <a:lvl1pPr algn="l">
              <a:defRPr sz="1600">
                <a:gradFill>
                  <a:gsLst>
                    <a:gs pos="100000">
                      <a:schemeClr val="bg2"/>
                    </a:gs>
                    <a:gs pos="0">
                      <a:schemeClr val="bg2"/>
                    </a:gs>
                  </a:gsLst>
                  <a:lin ang="5400000" scaled="0"/>
                </a:gradFill>
              </a:defRPr>
            </a:lvl1pPr>
          </a:lstStyle>
          <a:p>
            <a:pPr defTabSz="912847"/>
            <a:fld id="{727B4C2D-45E2-4621-8491-2995EB46A674}" type="slidenum">
              <a:rPr lang="en-US" smtClean="0">
                <a:gradFill>
                  <a:gsLst>
                    <a:gs pos="100000">
                      <a:srgbClr val="797A7D"/>
                    </a:gs>
                    <a:gs pos="0">
                      <a:srgbClr val="797A7D"/>
                    </a:gs>
                  </a:gsLst>
                  <a:lin ang="5400000" scaled="0"/>
                </a:gradFill>
              </a:rPr>
              <a:pPr defTabSz="912847"/>
              <a:t>‹#›</a:t>
            </a:fld>
            <a:endParaRPr lang="en-US" dirty="0">
              <a:gradFill>
                <a:gsLst>
                  <a:gs pos="100000">
                    <a:srgbClr val="797A7D"/>
                  </a:gs>
                  <a:gs pos="0">
                    <a:srgbClr val="797A7D"/>
                  </a:gs>
                </a:gsLst>
                <a:lin ang="5400000" scaled="0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370257951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ANIMATED">
    <p:bg bwMode="auto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5"/>
          <p:cNvSpPr>
            <a:spLocks noChangeArrowheads="1"/>
          </p:cNvSpPr>
          <p:nvPr userDrawn="1"/>
        </p:nvSpPr>
        <p:spPr bwMode="auto">
          <a:xfrm>
            <a:off x="3113" y="4309988"/>
            <a:ext cx="12188887" cy="2551127"/>
          </a:xfrm>
          <a:prstGeom prst="rect">
            <a:avLst/>
          </a:prstGeom>
          <a:solidFill>
            <a:srgbClr val="4DA0E2"/>
          </a:solidFill>
          <a:ln>
            <a:noFill/>
          </a:ln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auto">
          <a:xfrm>
            <a:off x="1" y="5729528"/>
            <a:ext cx="12188888" cy="1131586"/>
          </a:xfrm>
          <a:prstGeom prst="rect">
            <a:avLst/>
          </a:prstGeom>
          <a:solidFill>
            <a:srgbClr val="00188F"/>
          </a:solidFill>
          <a:ln>
            <a:noFill/>
          </a:ln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1" name="Rectangle 8"/>
          <p:cNvSpPr>
            <a:spLocks noChangeArrowheads="1"/>
          </p:cNvSpPr>
          <p:nvPr userDrawn="1"/>
        </p:nvSpPr>
        <p:spPr bwMode="auto">
          <a:xfrm>
            <a:off x="3113" y="3343392"/>
            <a:ext cx="12185777" cy="277059"/>
          </a:xfrm>
          <a:prstGeom prst="rect">
            <a:avLst/>
          </a:prstGeom>
          <a:solidFill>
            <a:srgbClr val="25B9E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0" y="-312"/>
            <a:ext cx="12191377" cy="6858623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1104" y="3877271"/>
            <a:ext cx="6273418" cy="1794661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529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3" y="2075840"/>
            <a:ext cx="9860610" cy="1801436"/>
          </a:xfrm>
          <a:noFill/>
        </p:spPr>
        <p:txBody>
          <a:bodyPr lIns="146304" tIns="91440" rIns="146304" bIns="91440" anchor="t" anchorCtr="0"/>
          <a:lstStyle>
            <a:lvl1pPr>
              <a:defRPr sz="5882" spc="-98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1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449322" y="6061766"/>
            <a:ext cx="1522404" cy="326167"/>
          </a:xfrm>
          <a:prstGeom prst="rect">
            <a:avLst/>
          </a:prstGeom>
        </p:spPr>
      </p:pic>
      <p:sp>
        <p:nvSpPr>
          <p:cNvPr id="8" name="Rectangle 6"/>
          <p:cNvSpPr>
            <a:spLocks noChangeArrowheads="1"/>
          </p:cNvSpPr>
          <p:nvPr userDrawn="1"/>
        </p:nvSpPr>
        <p:spPr bwMode="auto">
          <a:xfrm>
            <a:off x="3113" y="4309988"/>
            <a:ext cx="12188887" cy="25511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3" hasCustomPrompt="1"/>
          </p:nvPr>
        </p:nvSpPr>
        <p:spPr>
          <a:xfrm>
            <a:off x="269239" y="291069"/>
            <a:ext cx="3585699" cy="452654"/>
          </a:xfrm>
        </p:spPr>
        <p:txBody>
          <a:bodyPr/>
          <a:lstStyle>
            <a:lvl1pPr marL="0" indent="0">
              <a:buNone/>
              <a:defRPr sz="1961">
                <a:latin typeface="+mn-lt"/>
              </a:defRPr>
            </a:lvl1pPr>
            <a:lvl2pPr marL="336145" indent="0">
              <a:buNone/>
              <a:defRPr sz="1961"/>
            </a:lvl2pPr>
            <a:lvl3pPr marL="560241" indent="0">
              <a:buNone/>
              <a:defRPr sz="1961"/>
            </a:lvl3pPr>
            <a:lvl4pPr marL="784338" indent="0">
              <a:buNone/>
              <a:defRPr sz="1961"/>
            </a:lvl4pPr>
            <a:lvl5pPr marL="1008435" indent="0">
              <a:buNone/>
              <a:defRPr sz="1961"/>
            </a:lvl5pPr>
          </a:lstStyle>
          <a:p>
            <a:pPr lvl="0"/>
            <a:r>
              <a:rPr lang="en-US" dirty="0"/>
              <a:t>Session Code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8337064" y="291069"/>
            <a:ext cx="3585699" cy="452654"/>
          </a:xfrm>
        </p:spPr>
        <p:txBody>
          <a:bodyPr/>
          <a:lstStyle>
            <a:lvl1pPr marL="0" indent="0" algn="r">
              <a:buNone/>
              <a:defRPr sz="1961">
                <a:latin typeface="+mn-lt"/>
              </a:defRPr>
            </a:lvl1pPr>
            <a:lvl2pPr marL="336145" indent="0">
              <a:buNone/>
              <a:defRPr sz="1961"/>
            </a:lvl2pPr>
            <a:lvl3pPr marL="560241" indent="0">
              <a:buNone/>
              <a:defRPr sz="1961"/>
            </a:lvl3pPr>
            <a:lvl4pPr marL="784338" indent="0">
              <a:buNone/>
              <a:defRPr sz="1961"/>
            </a:lvl4pPr>
            <a:lvl5pPr marL="1008435" indent="0">
              <a:buNone/>
              <a:defRPr sz="1961"/>
            </a:lvl5pPr>
          </a:lstStyle>
          <a:p>
            <a:pPr lvl="0"/>
            <a:r>
              <a:rPr lang="en-US" dirty="0"/>
              <a:t>Yammer hashtag</a:t>
            </a:r>
          </a:p>
        </p:txBody>
      </p:sp>
    </p:spTree>
    <p:extLst>
      <p:ext uri="{BB962C8B-B14F-4D97-AF65-F5344CB8AC3E}">
        <p14:creationId xmlns:p14="http://schemas.microsoft.com/office/powerpoint/2010/main" val="3558816735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3" presetClass="path" presetSubtype="0" accel="24000" decel="76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3.25011E-6 L 1.00728 3.25011E-6 " pathEditMode="relative" rAng="0" ptsTypes="AA">
                                      <p:cBhvr>
                                        <p:cTn id="6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0357" y="0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63" presetClass="path" presetSubtype="0" accel="24000" decel="76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0 3.25011E-6 L 1.00728 3.25011E-6 " pathEditMode="relative" rAng="0" ptsTypes="AA">
                                      <p:cBhvr>
                                        <p:cTn id="8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0357" y="0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63" presetClass="path" presetSubtype="0" accel="24000" decel="76000" fill="hold" grpId="0" nodeType="withEffect">
                                  <p:stCondLst>
                                    <p:cond delay="150"/>
                                  </p:stCondLst>
                                  <p:childTnLst>
                                    <p:animMotion origin="layout" path="M 0 3.25011E-6 L 1.00728 3.25011E-6 " pathEditMode="relative" rAng="0" ptsTypes="AA">
                                      <p:cBhvr>
                                        <p:cTn id="10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0357" y="0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9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63" presetClass="path" presetSubtype="0" decel="10000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-0.01455 -1.34362E-6 L -3.90605E-7 -1.34362E-6 " pathEditMode="relative" rAng="0" ptsTypes="AA">
                                      <p:cBhvr>
                                        <p:cTn id="17" dur="9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18" presetID="6" presetClass="emph" presetSubtype="0" accel="100000" autoRev="1" fill="hold" grpId="2" nodeType="withEffect">
                                  <p:stCondLst>
                                    <p:cond delay="50"/>
                                  </p:stCondLst>
                                  <p:childTnLst>
                                    <p:animScale>
                                      <p:cBhvr>
                                        <p:cTn id="19" dur="500" fill="hold"/>
                                        <p:tgtEl>
                                          <p:spTgt spid="9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9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63" presetClass="path" presetSubtype="0" decel="100000" fill="hold" grpId="1" nodeType="withEffect">
                                  <p:stCondLst>
                                    <p:cond delay="800"/>
                                  </p:stCondLst>
                                  <p:childTnLst>
                                    <p:animMotion origin="layout" path="M -0.01455 -1.34362E-6 L -3.90605E-7 -1.34362E-6 " pathEditMode="relative" rAng="0" ptsTypes="AA">
                                      <p:cBhvr>
                                        <p:cTn id="24" dur="9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6" presetClass="emph" presetSubtype="0" accel="100000" autoRev="1" fill="hold" grpId="2" nodeType="withEffect">
                                  <p:stCondLst>
                                    <p:cond delay="100"/>
                                  </p:stCondLst>
                                  <p:childTnLst>
                                    <p:animScale>
                                      <p:cBhvr>
                                        <p:cTn id="26" dur="500" fill="hold"/>
                                        <p:tgtEl>
                                          <p:spTgt spid="5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9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63" presetClass="path" presetSubtype="0" decel="10000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animMotion origin="layout" path="M -0.01455 -1.34362E-6 L -3.90605E-7 -1.34362E-6 " pathEditMode="relative" rAng="0" ptsTypes="AA">
                                      <p:cBhvr>
                                        <p:cTn id="31" dur="9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32" presetID="6" presetClass="emph" presetSubtype="0" accel="100000" autoRev="1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Scale>
                                      <p:cBhvr>
                                        <p:cTn id="33" dur="500" fill="hold"/>
                                        <p:tgtEl>
                                          <p:spTgt spid="6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9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63" presetClass="path" presetSubtype="0" decel="100000" fill="hold" grpId="1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-0.01455 -1.34362E-6 L -3.90605E-7 -1.34362E-6 " pathEditMode="relative" rAng="0" ptsTypes="AA">
                                      <p:cBhvr>
                                        <p:cTn id="38" dur="9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39" presetID="6" presetClass="emph" presetSubtype="0" accel="100000" autoRev="1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40" dur="500" fill="hold"/>
                                        <p:tgtEl>
                                          <p:spTgt spid="17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95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63" presetClass="path" presetSubtype="0" decel="100000" fill="hold" grpId="1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-0.01455 -1.34362E-6 L -3.90605E-7 -1.34362E-6 " pathEditMode="relative" rAng="0" ptsTypes="AA">
                                      <p:cBhvr>
                                        <p:cTn id="45" dur="95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" presetClass="emph" presetSubtype="0" accel="100000" autoRev="1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47" dur="500" fill="hold"/>
                                        <p:tgtEl>
                                          <p:spTgt spid="15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0" grpId="0" animBg="1"/>
      <p:bldP spid="11" grpId="0" animBg="1"/>
      <p:bldP spid="13" grpId="0" animBg="1"/>
      <p:bldP spid="5" grpId="0">
        <p:tmplLst>
          <p:tmpl>
            <p:tnLst>
              <p:par>
                <p:cTn presetID="10" presetClass="entr" presetSubtype="0" fill="hold" nodeType="withEffect">
                  <p:stCondLst>
                    <p:cond delay="8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95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" grpId="1">
        <p:tmplLst>
          <p:tmpl>
            <p:tnLst>
              <p:par>
                <p:cTn presetID="63" presetClass="path" presetSubtype="0" decel="100000" fill="hold" nodeType="withEffect">
                  <p:stCondLst>
                    <p:cond delay="800"/>
                  </p:stCondLst>
                  <p:childTnLst>
                    <p:animMotion origin="layout" path="M -0.01455 -1.34362E-6 L -3.90605E-7 -1.34362E-6 " pathEditMode="relative" rAng="0" ptsTypes="AA">
                      <p:cBhvr>
                        <p:cTn dur="950" fill="hold"/>
                        <p:tgtEl>
                          <p:spTgt spid="5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728" y="0"/>
                    </p:animMotion>
                  </p:childTnLst>
                </p:cTn>
              </p:par>
            </p:tnLst>
          </p:tmpl>
        </p:tmplLst>
      </p:bldP>
      <p:bldP spid="5" grpId="2">
        <p:tmplLst>
          <p:tmpl>
            <p:tnLst>
              <p:par>
                <p:cTn presetID="6" presetClass="emph" presetSubtype="0" accel="100000" autoRev="1" fill="hold" nodeType="withEffect">
                  <p:stCondLst>
                    <p:cond delay="100"/>
                  </p:stCondLst>
                  <p:childTnLst>
                    <p:animScale>
                      <p:cBhvr>
                        <p:cTn dur="500" fill="hold"/>
                        <p:tgtEl>
                          <p:spTgt spid="5"/>
                        </p:tgtEl>
                      </p:cBhvr>
                      <p:by x="95000" y="95000"/>
                    </p:animScale>
                  </p:childTnLst>
                </p:cTn>
              </p:par>
            </p:tnLst>
          </p:tmpl>
        </p:tmplLst>
      </p:bldP>
      <p:bldP spid="9" grpId="0"/>
      <p:bldP spid="9" grpId="1"/>
      <p:bldP spid="9" grpId="2"/>
      <p:bldP spid="17" grpId="0">
        <p:tmplLst>
          <p:tmpl>
            <p:tnLst>
              <p:par>
                <p:cTn presetID="10" presetClass="entr" presetSubtype="0" fill="hold" nodeType="withEffect">
                  <p:stCondLst>
                    <p:cond delay="7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95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7" grpId="1"/>
      <p:bldP spid="17" grpId="2"/>
      <p:bldP spid="15" grpId="0">
        <p:tmplLst>
          <p:tmpl>
            <p:tnLst>
              <p:par>
                <p:cTn presetID="10" presetClass="entr" presetSubtype="0" fill="hold" nodeType="withEffect">
                  <p:stCondLst>
                    <p:cond delay="7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95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1"/>
      <p:bldP spid="15" grpId="2"/>
    </p:bldLst>
  </p:timing>
  <p:extLst>
    <p:ext uri="{DCECCB84-F9BA-43D5-87BE-67443E8EF086}">
      <p15:sldGuideLst xmlns:p15="http://schemas.microsoft.com/office/powerpoint/2012/main">
        <p15:guide id="4" orient="horz" pos="4406">
          <p15:clr>
            <a:srgbClr val="C35EA4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w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9250" y="228602"/>
            <a:ext cx="11151917" cy="747897"/>
          </a:xfrm>
        </p:spPr>
        <p:txBody>
          <a:bodyPr/>
          <a:lstStyle>
            <a:lvl1pPr>
              <a:defRPr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19250" y="1447799"/>
            <a:ext cx="11151917" cy="2043636"/>
          </a:xfrm>
          <a:prstGeom prst="rect">
            <a:avLst/>
          </a:prstGeom>
        </p:spPr>
        <p:txBody>
          <a:bodyPr/>
          <a:lstStyle>
            <a:lvl1pPr marL="283693" indent="-283693">
              <a:buFont typeface="Wingdings" pitchFamily="2" charset="2"/>
              <a:buChar char=""/>
              <a:defRPr sz="4000"/>
            </a:lvl1pPr>
            <a:lvl2pPr marL="516668" indent="-232976">
              <a:buFont typeface="Wingdings" pitchFamily="2" charset="2"/>
              <a:buChar char=""/>
              <a:defRPr>
                <a:latin typeface="+mn-lt"/>
              </a:defRPr>
            </a:lvl2pPr>
            <a:lvl3pPr marL="740132" indent="-223467">
              <a:buFont typeface="Wingdings" pitchFamily="2" charset="2"/>
              <a:buChar char=""/>
              <a:tabLst/>
              <a:defRPr>
                <a:latin typeface="+mn-lt"/>
              </a:defRPr>
            </a:lvl3pPr>
            <a:lvl4pPr marL="912883" indent="-172750">
              <a:buFont typeface="Wingdings" pitchFamily="2" charset="2"/>
              <a:buChar char=""/>
              <a:defRPr>
                <a:latin typeface="+mn-lt"/>
              </a:defRPr>
            </a:lvl4pPr>
            <a:lvl5pPr marL="1085634" indent="-172750">
              <a:buFont typeface="Wingdings" pitchFamily="2" charset="2"/>
              <a:buChar char=""/>
              <a:tabLst/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9"/>
          <p:cNvSpPr>
            <a:spLocks noGrp="1"/>
          </p:cNvSpPr>
          <p:nvPr>
            <p:ph type="sldNum" sz="quarter" idx="12"/>
          </p:nvPr>
        </p:nvSpPr>
        <p:spPr>
          <a:xfrm>
            <a:off x="520836" y="6399557"/>
            <a:ext cx="560832" cy="219456"/>
          </a:xfrm>
          <a:prstGeom prst="rect">
            <a:avLst/>
          </a:prstGeom>
        </p:spPr>
        <p:txBody>
          <a:bodyPr lIns="121720" tIns="60860" rIns="121720" bIns="60860" anchor="ctr"/>
          <a:lstStyle>
            <a:lvl1pPr algn="l">
              <a:defRPr sz="1600">
                <a:gradFill>
                  <a:gsLst>
                    <a:gs pos="100000">
                      <a:schemeClr val="bg2"/>
                    </a:gs>
                    <a:gs pos="0">
                      <a:schemeClr val="bg2"/>
                    </a:gs>
                  </a:gsLst>
                  <a:lin ang="5400000" scaled="0"/>
                </a:gradFill>
              </a:defRPr>
            </a:lvl1pPr>
          </a:lstStyle>
          <a:p>
            <a:pPr defTabSz="912847"/>
            <a:fld id="{727B4C2D-45E2-4621-8491-2995EB46A674}" type="slidenum">
              <a:rPr lang="en-US" smtClean="0">
                <a:gradFill>
                  <a:gsLst>
                    <a:gs pos="100000">
                      <a:srgbClr val="797A7D"/>
                    </a:gs>
                    <a:gs pos="0">
                      <a:srgbClr val="797A7D"/>
                    </a:gs>
                  </a:gsLst>
                  <a:lin ang="5400000" scaled="0"/>
                </a:gradFill>
              </a:rPr>
              <a:pPr defTabSz="912847"/>
              <a:t>‹#›</a:t>
            </a:fld>
            <a:endParaRPr lang="en-US" dirty="0">
              <a:gradFill>
                <a:gsLst>
                  <a:gs pos="100000">
                    <a:srgbClr val="797A7D"/>
                  </a:gs>
                  <a:gs pos="0">
                    <a:srgbClr val="797A7D"/>
                  </a:gs>
                </a:gsLst>
                <a:lin ang="5400000" scaled="0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1953688323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ntent, 2-color, 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520838" y="1447802"/>
            <a:ext cx="5396365" cy="2462213"/>
          </a:xfrm>
        </p:spPr>
        <p:txBody>
          <a:bodyPr/>
          <a:lstStyle>
            <a:lvl1pPr marL="0" indent="0">
              <a:spcBef>
                <a:spcPts val="1198"/>
              </a:spcBef>
              <a:buNone/>
              <a:defRPr sz="400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0" indent="0">
              <a:buNone/>
              <a:defRPr sz="2000"/>
            </a:lvl2pPr>
            <a:lvl3pPr marL="232976" indent="0">
              <a:buNone/>
              <a:defRPr sz="2000"/>
            </a:lvl3pPr>
            <a:lvl4pPr marL="456442" indent="0">
              <a:buNone/>
              <a:defRPr sz="2000"/>
            </a:lvl4pPr>
            <a:lvl5pPr marL="692588" indent="0">
              <a:buNone/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6279565" y="1447802"/>
            <a:ext cx="5396365" cy="2462213"/>
          </a:xfrm>
        </p:spPr>
        <p:txBody>
          <a:bodyPr/>
          <a:lstStyle>
            <a:lvl1pPr marL="0" indent="0">
              <a:spcBef>
                <a:spcPts val="1198"/>
              </a:spcBef>
              <a:buNone/>
              <a:defRPr lang="en-US" sz="4000" kern="1200" spc="-71" baseline="0" dirty="0" smtClean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3170" marR="0" indent="0" algn="l" defTabSz="91284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2000" kern="1200" spc="-71" baseline="0" dirty="0" smtClean="0">
                <a:gradFill>
                  <a:gsLst>
                    <a:gs pos="1250">
                      <a:schemeClr val="bg2"/>
                    </a:gs>
                    <a:gs pos="100000">
                      <a:schemeClr val="bg2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232976" marR="0" indent="0" algn="l" defTabSz="91284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2000" kern="1200" spc="-71" baseline="0" dirty="0" smtClean="0">
                <a:gradFill>
                  <a:gsLst>
                    <a:gs pos="1250">
                      <a:schemeClr val="bg2"/>
                    </a:gs>
                    <a:gs pos="100000">
                      <a:schemeClr val="bg2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459611" marR="0" indent="0" algn="l" defTabSz="91284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2000" kern="1200" spc="-71" baseline="0" dirty="0" smtClean="0">
                <a:gradFill>
                  <a:gsLst>
                    <a:gs pos="1250">
                      <a:schemeClr val="bg2"/>
                    </a:gs>
                    <a:gs pos="100000">
                      <a:schemeClr val="bg2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686248" marR="0" indent="0" algn="l" defTabSz="91284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2000" kern="1200" spc="-71" baseline="0" dirty="0">
                <a:gradFill>
                  <a:gsLst>
                    <a:gs pos="1250">
                      <a:schemeClr val="bg2"/>
                    </a:gs>
                    <a:gs pos="100000">
                      <a:schemeClr val="bg2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0" marR="0" lvl="0" indent="0" algn="l" defTabSz="91284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/>
              <a:t>Click to edit Master text styles</a:t>
            </a:r>
          </a:p>
          <a:p>
            <a:pPr marL="0" marR="0" lvl="1" indent="0" algn="l" defTabSz="91284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/>
              <a:t>Second level</a:t>
            </a:r>
          </a:p>
          <a:p>
            <a:pPr marL="0" marR="0" lvl="2" indent="0" algn="l" defTabSz="91284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/>
              <a:t>Third level</a:t>
            </a:r>
          </a:p>
          <a:p>
            <a:pPr marL="0" marR="0" lvl="3" indent="0" algn="l" defTabSz="91284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/>
              <a:t>Fourth level</a:t>
            </a:r>
          </a:p>
          <a:p>
            <a:pPr marL="0" marR="0" lvl="4" indent="0" algn="l" defTabSz="91284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9"/>
          <p:cNvSpPr>
            <a:spLocks noGrp="1"/>
          </p:cNvSpPr>
          <p:nvPr>
            <p:ph type="sldNum" sz="quarter" idx="13"/>
          </p:nvPr>
        </p:nvSpPr>
        <p:spPr>
          <a:xfrm>
            <a:off x="520836" y="6399557"/>
            <a:ext cx="560832" cy="219456"/>
          </a:xfrm>
          <a:prstGeom prst="rect">
            <a:avLst/>
          </a:prstGeom>
        </p:spPr>
        <p:txBody>
          <a:bodyPr lIns="121720" tIns="60860" rIns="121720" bIns="60860" anchor="ctr"/>
          <a:lstStyle>
            <a:lvl1pPr algn="l">
              <a:defRPr sz="1600">
                <a:gradFill>
                  <a:gsLst>
                    <a:gs pos="100000">
                      <a:schemeClr val="bg2"/>
                    </a:gs>
                    <a:gs pos="0">
                      <a:schemeClr val="bg2"/>
                    </a:gs>
                  </a:gsLst>
                  <a:lin ang="5400000" scaled="0"/>
                </a:gradFill>
              </a:defRPr>
            </a:lvl1pPr>
          </a:lstStyle>
          <a:p>
            <a:pPr defTabSz="912847"/>
            <a:fld id="{727B4C2D-45E2-4621-8491-2995EB46A674}" type="slidenum">
              <a:rPr lang="en-US" smtClean="0">
                <a:gradFill>
                  <a:gsLst>
                    <a:gs pos="100000">
                      <a:srgbClr val="797A7D"/>
                    </a:gs>
                    <a:gs pos="0">
                      <a:srgbClr val="797A7D"/>
                    </a:gs>
                  </a:gsLst>
                  <a:lin ang="5400000" scaled="0"/>
                </a:gradFill>
              </a:rPr>
              <a:pPr defTabSz="912847"/>
              <a:t>‹#›</a:t>
            </a:fld>
            <a:endParaRPr lang="en-US" dirty="0">
              <a:gradFill>
                <a:gsLst>
                  <a:gs pos="100000">
                    <a:srgbClr val="797A7D"/>
                  </a:gs>
                  <a:gs pos="0">
                    <a:srgbClr val="797A7D"/>
                  </a:gs>
                </a:gsLst>
                <a:lin ang="5400000" scaled="0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1898723777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ntent, 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520838" y="1447802"/>
            <a:ext cx="5396365" cy="2462213"/>
          </a:xfrm>
        </p:spPr>
        <p:txBody>
          <a:bodyPr/>
          <a:lstStyle>
            <a:lvl1pPr marL="0" indent="0">
              <a:spcBef>
                <a:spcPts val="1198"/>
              </a:spcBef>
              <a:buNone/>
              <a:defRPr sz="4000">
                <a:gradFill>
                  <a:gsLst>
                    <a:gs pos="1000">
                      <a:schemeClr val="bg2"/>
                    </a:gs>
                    <a:gs pos="98000">
                      <a:schemeClr val="bg2"/>
                    </a:gs>
                  </a:gsLst>
                  <a:lin ang="5400000" scaled="0"/>
                </a:gradFill>
                <a:latin typeface="+mj-lt"/>
              </a:defRPr>
            </a:lvl1pPr>
            <a:lvl2pPr marL="0" indent="0">
              <a:buNone/>
              <a:defRPr sz="2000">
                <a:gradFill>
                  <a:gsLst>
                    <a:gs pos="1000">
                      <a:schemeClr val="bg2"/>
                    </a:gs>
                    <a:gs pos="98000">
                      <a:schemeClr val="bg2"/>
                    </a:gs>
                  </a:gsLst>
                  <a:lin ang="5400000" scaled="0"/>
                </a:gradFill>
              </a:defRPr>
            </a:lvl2pPr>
            <a:lvl3pPr marL="232976" indent="0">
              <a:buNone/>
              <a:defRPr sz="2000">
                <a:gradFill>
                  <a:gsLst>
                    <a:gs pos="1000">
                      <a:schemeClr val="bg2"/>
                    </a:gs>
                    <a:gs pos="98000">
                      <a:schemeClr val="bg2"/>
                    </a:gs>
                  </a:gsLst>
                  <a:lin ang="5400000" scaled="0"/>
                </a:gradFill>
              </a:defRPr>
            </a:lvl3pPr>
            <a:lvl4pPr marL="456442" indent="0">
              <a:buNone/>
              <a:defRPr sz="2000">
                <a:gradFill>
                  <a:gsLst>
                    <a:gs pos="1000">
                      <a:schemeClr val="bg2"/>
                    </a:gs>
                    <a:gs pos="98000">
                      <a:schemeClr val="bg2"/>
                    </a:gs>
                  </a:gsLst>
                  <a:lin ang="5400000" scaled="0"/>
                </a:gradFill>
              </a:defRPr>
            </a:lvl4pPr>
            <a:lvl5pPr marL="692588" indent="0">
              <a:buNone/>
              <a:defRPr sz="2000">
                <a:gradFill>
                  <a:gsLst>
                    <a:gs pos="1000">
                      <a:schemeClr val="bg2"/>
                    </a:gs>
                    <a:gs pos="98000">
                      <a:schemeClr val="bg2"/>
                    </a:gs>
                  </a:gsLst>
                  <a:lin ang="5400000" scaled="0"/>
                </a:gra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6279565" y="1447802"/>
            <a:ext cx="5396365" cy="2462213"/>
          </a:xfrm>
        </p:spPr>
        <p:txBody>
          <a:bodyPr/>
          <a:lstStyle>
            <a:lvl1pPr marL="0" indent="0">
              <a:spcBef>
                <a:spcPts val="1198"/>
              </a:spcBef>
              <a:buNone/>
              <a:defRPr lang="en-US" sz="4000" kern="1200" spc="-71" baseline="0" dirty="0" smtClean="0">
                <a:gradFill>
                  <a:gsLst>
                    <a:gs pos="1000">
                      <a:schemeClr val="bg2"/>
                    </a:gs>
                    <a:gs pos="98000">
                      <a:schemeClr val="bg2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3170" marR="0" indent="0" algn="l" defTabSz="91284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2000" kern="1200" spc="-71" baseline="0" dirty="0" smtClean="0">
                <a:gradFill>
                  <a:gsLst>
                    <a:gs pos="1000">
                      <a:schemeClr val="bg2"/>
                    </a:gs>
                    <a:gs pos="98000">
                      <a:schemeClr val="bg2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232976" marR="0" indent="0" algn="l" defTabSz="91284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2000" kern="1200" spc="-71" baseline="0" dirty="0" smtClean="0">
                <a:gradFill>
                  <a:gsLst>
                    <a:gs pos="1000">
                      <a:schemeClr val="bg2"/>
                    </a:gs>
                    <a:gs pos="98000">
                      <a:schemeClr val="bg2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459611" marR="0" indent="0" algn="l" defTabSz="91284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2000" kern="1200" spc="-71" baseline="0" dirty="0" smtClean="0">
                <a:gradFill>
                  <a:gsLst>
                    <a:gs pos="1000">
                      <a:schemeClr val="bg2"/>
                    </a:gs>
                    <a:gs pos="98000">
                      <a:schemeClr val="bg2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686248" marR="0" indent="0" algn="l" defTabSz="91284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2000" kern="1200" spc="-71" baseline="0" dirty="0">
                <a:gradFill>
                  <a:gsLst>
                    <a:gs pos="1000">
                      <a:schemeClr val="bg2"/>
                    </a:gs>
                    <a:gs pos="98000">
                      <a:schemeClr val="bg2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0" marR="0" lvl="0" indent="0" algn="l" defTabSz="91284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/>
              <a:t>Click to edit Master text styles</a:t>
            </a:r>
          </a:p>
          <a:p>
            <a:pPr marL="0" marR="0" lvl="1" indent="0" algn="l" defTabSz="91284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/>
              <a:t>Second level</a:t>
            </a:r>
          </a:p>
          <a:p>
            <a:pPr marL="0" marR="0" lvl="2" indent="0" algn="l" defTabSz="91284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/>
              <a:t>Third level</a:t>
            </a:r>
          </a:p>
          <a:p>
            <a:pPr marL="0" marR="0" lvl="3" indent="0" algn="l" defTabSz="91284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/>
              <a:t>Fourth level</a:t>
            </a:r>
          </a:p>
          <a:p>
            <a:pPr marL="0" marR="0" lvl="4" indent="0" algn="l" defTabSz="91284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9"/>
          <p:cNvSpPr>
            <a:spLocks noGrp="1"/>
          </p:cNvSpPr>
          <p:nvPr>
            <p:ph type="sldNum" sz="quarter" idx="13"/>
          </p:nvPr>
        </p:nvSpPr>
        <p:spPr>
          <a:xfrm>
            <a:off x="520836" y="6399557"/>
            <a:ext cx="560832" cy="219456"/>
          </a:xfrm>
          <a:prstGeom prst="rect">
            <a:avLst/>
          </a:prstGeom>
        </p:spPr>
        <p:txBody>
          <a:bodyPr lIns="121720" tIns="60860" rIns="121720" bIns="60860" anchor="ctr"/>
          <a:lstStyle>
            <a:lvl1pPr algn="l">
              <a:defRPr sz="1600">
                <a:gradFill>
                  <a:gsLst>
                    <a:gs pos="100000">
                      <a:schemeClr val="bg2"/>
                    </a:gs>
                    <a:gs pos="0">
                      <a:schemeClr val="bg2"/>
                    </a:gs>
                  </a:gsLst>
                  <a:lin ang="5400000" scaled="0"/>
                </a:gradFill>
              </a:defRPr>
            </a:lvl1pPr>
          </a:lstStyle>
          <a:p>
            <a:pPr defTabSz="912847"/>
            <a:fld id="{727B4C2D-45E2-4621-8491-2995EB46A674}" type="slidenum">
              <a:rPr lang="en-US" smtClean="0">
                <a:gradFill>
                  <a:gsLst>
                    <a:gs pos="100000">
                      <a:srgbClr val="797A7D"/>
                    </a:gs>
                    <a:gs pos="0">
                      <a:srgbClr val="797A7D"/>
                    </a:gs>
                  </a:gsLst>
                  <a:lin ang="5400000" scaled="0"/>
                </a:gradFill>
              </a:rPr>
              <a:pPr defTabSz="912847"/>
              <a:t>‹#›</a:t>
            </a:fld>
            <a:endParaRPr lang="en-US" dirty="0">
              <a:gradFill>
                <a:gsLst>
                  <a:gs pos="100000">
                    <a:srgbClr val="797A7D"/>
                  </a:gs>
                  <a:gs pos="0">
                    <a:srgbClr val="797A7D"/>
                  </a:gs>
                </a:gsLst>
                <a:lin ang="5400000" scaled="0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1816338399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ntent w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20838" y="1447801"/>
            <a:ext cx="5396365" cy="2351413"/>
          </a:xfrm>
        </p:spPr>
        <p:txBody>
          <a:bodyPr>
            <a:spAutoFit/>
          </a:bodyPr>
          <a:lstStyle>
            <a:lvl1pPr marL="291615" indent="-291615">
              <a:spcBef>
                <a:spcPts val="1198"/>
              </a:spcBef>
              <a:buClr>
                <a:schemeClr val="bg2"/>
              </a:buClr>
              <a:buSzPct val="100000"/>
              <a:buFont typeface="Wingdings" pitchFamily="2" charset="2"/>
              <a:buChar char=""/>
              <a:defRPr lang="en-US" sz="3600" kern="1200" spc="-71" baseline="0" dirty="0" smtClean="0">
                <a:gradFill>
                  <a:gsLst>
                    <a:gs pos="1250">
                      <a:schemeClr val="bg2"/>
                    </a:gs>
                    <a:gs pos="100000">
                      <a:schemeClr val="bg2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19836" indent="-228221">
              <a:defRPr sz="2000"/>
            </a:lvl2pPr>
            <a:lvl3pPr marL="684663" indent="-164827">
              <a:tabLst/>
              <a:defRPr sz="2000"/>
            </a:lvl3pPr>
            <a:lvl4pPr marL="862167" indent="-177505">
              <a:defRPr/>
            </a:lvl4pPr>
            <a:lvl5pPr marL="1026994" indent="-164827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6279565" y="1447802"/>
            <a:ext cx="5396365" cy="2762808"/>
          </a:xfrm>
        </p:spPr>
        <p:txBody>
          <a:bodyPr>
            <a:spAutoFit/>
          </a:bodyPr>
          <a:lstStyle>
            <a:lvl1pPr marL="339162" indent="-339162">
              <a:spcBef>
                <a:spcPts val="1198"/>
              </a:spcBef>
              <a:buClr>
                <a:schemeClr val="bg2"/>
              </a:buClr>
              <a:buFont typeface="Arial" pitchFamily="34" charset="0"/>
              <a:buChar char="•"/>
              <a:defRPr lang="en-US" sz="3600" kern="1200" spc="-71" baseline="0" dirty="0" smtClean="0">
                <a:gradFill>
                  <a:gsLst>
                    <a:gs pos="1250">
                      <a:schemeClr val="bg2"/>
                    </a:gs>
                    <a:gs pos="100000">
                      <a:schemeClr val="bg2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633947" indent="-342332">
              <a:defRPr lang="en-US" sz="2000" kern="1200" spc="0" baseline="0" dirty="0" smtClean="0">
                <a:gradFill>
                  <a:gsLst>
                    <a:gs pos="1250">
                      <a:schemeClr val="bg2"/>
                    </a:gs>
                    <a:gs pos="100000">
                      <a:schemeClr val="bg2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862167" indent="-342332">
              <a:defRPr lang="en-US" sz="2000" kern="1200" spc="0" baseline="0" dirty="0" smtClean="0">
                <a:gradFill>
                  <a:gsLst>
                    <a:gs pos="1250">
                      <a:schemeClr val="bg2"/>
                    </a:gs>
                    <a:gs pos="100000">
                      <a:schemeClr val="bg2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026994" indent="-342332">
              <a:defRPr lang="en-US" sz="2000" kern="1200" spc="0" baseline="0" dirty="0" smtClean="0">
                <a:gradFill>
                  <a:gsLst>
                    <a:gs pos="1250">
                      <a:schemeClr val="bg2"/>
                    </a:gs>
                    <a:gs pos="100000">
                      <a:schemeClr val="bg2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04500" indent="-342332">
              <a:defRPr lang="en-US" sz="2000" kern="1200" spc="0" baseline="0" dirty="0">
                <a:gradFill>
                  <a:gsLst>
                    <a:gs pos="1250">
                      <a:schemeClr val="bg2"/>
                    </a:gs>
                    <a:gs pos="100000">
                      <a:schemeClr val="bg2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291615" marR="0" lvl="0" indent="-291615" algn="l" defTabSz="912847" rtl="0" eaLnBrk="1" fontAlgn="auto" latinLnBrk="0" hangingPunct="1">
              <a:lnSpc>
                <a:spcPct val="90000"/>
              </a:lnSpc>
              <a:spcBef>
                <a:spcPts val="1198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Wingdings" pitchFamily="2" charset="2"/>
              <a:buChar char=""/>
              <a:tabLst/>
            </a:pPr>
            <a:r>
              <a:rPr lang="en-US"/>
              <a:t>Click to edit Master text styles</a:t>
            </a:r>
          </a:p>
          <a:p>
            <a:pPr marL="291615" marR="0" lvl="1" indent="-291615" algn="l" defTabSz="912847" rtl="0" eaLnBrk="1" fontAlgn="auto" latinLnBrk="0" hangingPunct="1">
              <a:lnSpc>
                <a:spcPct val="90000"/>
              </a:lnSpc>
              <a:spcBef>
                <a:spcPts val="1198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Wingdings" pitchFamily="2" charset="2"/>
              <a:buChar char=""/>
              <a:tabLst/>
            </a:pPr>
            <a:r>
              <a:rPr lang="en-US"/>
              <a:t>Second level</a:t>
            </a:r>
          </a:p>
          <a:p>
            <a:pPr marL="291615" marR="0" lvl="2" indent="-291615" algn="l" defTabSz="912847" rtl="0" eaLnBrk="1" fontAlgn="auto" latinLnBrk="0" hangingPunct="1">
              <a:lnSpc>
                <a:spcPct val="90000"/>
              </a:lnSpc>
              <a:spcBef>
                <a:spcPts val="1198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Wingdings" pitchFamily="2" charset="2"/>
              <a:buChar char=""/>
              <a:tabLst/>
            </a:pPr>
            <a:r>
              <a:rPr lang="en-US"/>
              <a:t>Third level</a:t>
            </a:r>
          </a:p>
          <a:p>
            <a:pPr marL="291615" marR="0" lvl="3" indent="-291615" algn="l" defTabSz="912847" rtl="0" eaLnBrk="1" fontAlgn="auto" latinLnBrk="0" hangingPunct="1">
              <a:lnSpc>
                <a:spcPct val="90000"/>
              </a:lnSpc>
              <a:spcBef>
                <a:spcPts val="1198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Wingdings" pitchFamily="2" charset="2"/>
              <a:buChar char=""/>
              <a:tabLst/>
            </a:pPr>
            <a:r>
              <a:rPr lang="en-US"/>
              <a:t>Fourth level</a:t>
            </a:r>
          </a:p>
          <a:p>
            <a:pPr marL="291615" marR="0" lvl="4" indent="-291615" algn="l" defTabSz="912847" rtl="0" eaLnBrk="1" fontAlgn="auto" latinLnBrk="0" hangingPunct="1">
              <a:lnSpc>
                <a:spcPct val="90000"/>
              </a:lnSpc>
              <a:spcBef>
                <a:spcPts val="1198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Wingdings" pitchFamily="2" charset="2"/>
              <a:buChar char=""/>
              <a:tabLst/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9"/>
          <p:cNvSpPr>
            <a:spLocks noGrp="1"/>
          </p:cNvSpPr>
          <p:nvPr>
            <p:ph type="sldNum" sz="quarter" idx="12"/>
          </p:nvPr>
        </p:nvSpPr>
        <p:spPr>
          <a:xfrm>
            <a:off x="520836" y="6399557"/>
            <a:ext cx="560832" cy="219456"/>
          </a:xfrm>
          <a:prstGeom prst="rect">
            <a:avLst/>
          </a:prstGeom>
        </p:spPr>
        <p:txBody>
          <a:bodyPr lIns="121720" tIns="60860" rIns="121720" bIns="60860" anchor="ctr"/>
          <a:lstStyle>
            <a:lvl1pPr algn="l">
              <a:defRPr sz="1600">
                <a:gradFill>
                  <a:gsLst>
                    <a:gs pos="100000">
                      <a:schemeClr val="bg2"/>
                    </a:gs>
                    <a:gs pos="0">
                      <a:schemeClr val="bg2"/>
                    </a:gs>
                  </a:gsLst>
                  <a:lin ang="5400000" scaled="0"/>
                </a:gradFill>
              </a:defRPr>
            </a:lvl1pPr>
          </a:lstStyle>
          <a:p>
            <a:pPr defTabSz="912847"/>
            <a:fld id="{727B4C2D-45E2-4621-8491-2995EB46A674}" type="slidenum">
              <a:rPr lang="en-US" smtClean="0">
                <a:gradFill>
                  <a:gsLst>
                    <a:gs pos="100000">
                      <a:srgbClr val="797A7D"/>
                    </a:gs>
                    <a:gs pos="0">
                      <a:srgbClr val="797A7D"/>
                    </a:gs>
                  </a:gsLst>
                  <a:lin ang="5400000" scaled="0"/>
                </a:gradFill>
              </a:rPr>
              <a:pPr defTabSz="912847"/>
              <a:t>‹#›</a:t>
            </a:fld>
            <a:endParaRPr lang="en-US" dirty="0">
              <a:gradFill>
                <a:gsLst>
                  <a:gs pos="100000">
                    <a:srgbClr val="797A7D"/>
                  </a:gs>
                  <a:gs pos="0">
                    <a:srgbClr val="797A7D"/>
                  </a:gs>
                </a:gsLst>
                <a:lin ang="5400000" scaled="0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86604982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&amp; Small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20835" y="1447803"/>
            <a:ext cx="5434948" cy="166199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4000" b="0" cap="none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608482" indent="0">
              <a:buNone/>
              <a:defRPr sz="2700" b="1"/>
            </a:lvl2pPr>
            <a:lvl3pPr marL="1216965" indent="0">
              <a:buNone/>
              <a:defRPr sz="2400" b="1"/>
            </a:lvl3pPr>
            <a:lvl4pPr marL="1825447" indent="0">
              <a:buNone/>
              <a:defRPr sz="2100" b="1"/>
            </a:lvl4pPr>
            <a:lvl5pPr marL="2433930" indent="0">
              <a:buNone/>
              <a:defRPr sz="2100" b="1"/>
            </a:lvl5pPr>
            <a:lvl6pPr marL="3042413" indent="0">
              <a:buNone/>
              <a:defRPr sz="2100" b="1"/>
            </a:lvl6pPr>
            <a:lvl7pPr marL="3650895" indent="0">
              <a:buNone/>
              <a:defRPr sz="2100" b="1"/>
            </a:lvl7pPr>
            <a:lvl8pPr marL="4259376" indent="0">
              <a:buNone/>
              <a:defRPr sz="2100" b="1"/>
            </a:lvl8pPr>
            <a:lvl9pPr marL="4867860" indent="0">
              <a:buNone/>
              <a:defRPr sz="2100" b="1"/>
            </a:lvl9pPr>
          </a:lstStyle>
          <a:p>
            <a:pPr lvl="0"/>
            <a:r>
              <a:rPr lang="en-US" dirty="0"/>
              <a:t>Click to edit Master text styles.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89762" y="1681907"/>
            <a:ext cx="5486169" cy="3323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1198"/>
              </a:spcBef>
              <a:buNone/>
              <a:defRPr lang="en-US" sz="2000" kern="1200" spc="0" dirty="0" smtClean="0">
                <a:gradFill>
                  <a:gsLst>
                    <a:gs pos="100000">
                      <a:schemeClr val="bg2"/>
                    </a:gs>
                    <a:gs pos="0">
                      <a:schemeClr val="bg2"/>
                    </a:gs>
                  </a:gsLst>
                  <a:lin ang="5400000" scaled="0"/>
                </a:gradFill>
                <a:latin typeface="+mn-lt"/>
                <a:ea typeface="+mn-ea"/>
                <a:cs typeface="Segoe UI" pitchFamily="34" charset="0"/>
              </a:defRPr>
            </a:lvl1pPr>
            <a:lvl2pPr marL="912723" indent="-380301">
              <a:defRPr lang="en-US" sz="2100" kern="1200" dirty="0" smtClean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Arial" pitchFamily="34" charset="0"/>
              </a:defRPr>
            </a:lvl2pPr>
            <a:lvl3pPr marL="912723" indent="-228181">
              <a:defRPr lang="en-US" sz="1900" kern="1200" dirty="0" smtClean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Arial" pitchFamily="34" charset="0"/>
              </a:defRPr>
            </a:lvl3pPr>
            <a:lvl4pPr marL="1216965" indent="-228181">
              <a:defRPr lang="en-US" sz="1600" kern="1200" dirty="0" smtClean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Arial" pitchFamily="34" charset="0"/>
              </a:defRPr>
            </a:lvl4pPr>
            <a:lvl5pPr marL="1445146" indent="-228181">
              <a:defRPr lang="en-US" sz="1600" kern="1200" dirty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Arial" pitchFamily="34" charset="0"/>
              </a:defRPr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>
          <a:xfrm>
            <a:off x="520836" y="6399557"/>
            <a:ext cx="560832" cy="219456"/>
          </a:xfrm>
          <a:prstGeom prst="rect">
            <a:avLst/>
          </a:prstGeom>
        </p:spPr>
        <p:txBody>
          <a:bodyPr lIns="121720" tIns="60860" rIns="121720" bIns="60860" anchor="ctr"/>
          <a:lstStyle>
            <a:lvl1pPr algn="l">
              <a:defRPr sz="1600">
                <a:gradFill>
                  <a:gsLst>
                    <a:gs pos="100000">
                      <a:schemeClr val="bg2"/>
                    </a:gs>
                    <a:gs pos="0">
                      <a:schemeClr val="bg2"/>
                    </a:gs>
                  </a:gsLst>
                  <a:lin ang="5400000" scaled="0"/>
                </a:gradFill>
              </a:defRPr>
            </a:lvl1pPr>
          </a:lstStyle>
          <a:p>
            <a:pPr defTabSz="912847"/>
            <a:fld id="{727B4C2D-45E2-4621-8491-2995EB46A674}" type="slidenum">
              <a:rPr lang="en-US" smtClean="0">
                <a:gradFill>
                  <a:gsLst>
                    <a:gs pos="100000">
                      <a:srgbClr val="797A7D"/>
                    </a:gs>
                    <a:gs pos="0">
                      <a:srgbClr val="797A7D"/>
                    </a:gs>
                  </a:gsLst>
                  <a:lin ang="5400000" scaled="0"/>
                </a:gradFill>
              </a:rPr>
              <a:pPr defTabSz="912847"/>
              <a:t>‹#›</a:t>
            </a:fld>
            <a:endParaRPr lang="en-US" dirty="0">
              <a:gradFill>
                <a:gsLst>
                  <a:gs pos="100000">
                    <a:srgbClr val="797A7D"/>
                  </a:gs>
                  <a:gs pos="0">
                    <a:srgbClr val="797A7D"/>
                  </a:gs>
                </a:gsLst>
                <a:lin ang="5400000" scaled="0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395872156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/Photo on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20835" y="1447803"/>
            <a:ext cx="5434948" cy="11784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4000" b="0" cap="none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608482" indent="0">
              <a:buNone/>
              <a:defRPr sz="2700" b="1"/>
            </a:lvl2pPr>
            <a:lvl3pPr marL="1216965" indent="0">
              <a:buNone/>
              <a:defRPr sz="2400" b="1"/>
            </a:lvl3pPr>
            <a:lvl4pPr marL="1825447" indent="0">
              <a:buNone/>
              <a:defRPr sz="2100" b="1"/>
            </a:lvl4pPr>
            <a:lvl5pPr marL="2433930" indent="0">
              <a:buNone/>
              <a:defRPr sz="2100" b="1"/>
            </a:lvl5pPr>
            <a:lvl6pPr marL="3042413" indent="0">
              <a:buNone/>
              <a:defRPr sz="2100" b="1"/>
            </a:lvl6pPr>
            <a:lvl7pPr marL="3650895" indent="0">
              <a:buNone/>
              <a:defRPr sz="2100" b="1"/>
            </a:lvl7pPr>
            <a:lvl8pPr marL="4259376" indent="0">
              <a:buNone/>
              <a:defRPr sz="2100" b="1"/>
            </a:lvl8pPr>
            <a:lvl9pPr marL="4867860" indent="0">
              <a:buNone/>
              <a:defRPr sz="2100" b="1"/>
            </a:lvl9pPr>
          </a:lstStyle>
          <a:p>
            <a:pPr lvl="0"/>
            <a:r>
              <a:rPr lang="en-US" dirty="0"/>
              <a:t>Click to edit Master text styles.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>
          <a:xfrm>
            <a:off x="520836" y="6399557"/>
            <a:ext cx="560832" cy="219456"/>
          </a:xfrm>
          <a:prstGeom prst="rect">
            <a:avLst/>
          </a:prstGeom>
        </p:spPr>
        <p:txBody>
          <a:bodyPr lIns="121720" tIns="60860" rIns="121720" bIns="60860" anchor="ctr"/>
          <a:lstStyle>
            <a:lvl1pPr algn="l">
              <a:defRPr sz="1600">
                <a:gradFill>
                  <a:gsLst>
                    <a:gs pos="100000">
                      <a:schemeClr val="bg2"/>
                    </a:gs>
                    <a:gs pos="0">
                      <a:schemeClr val="bg2"/>
                    </a:gs>
                  </a:gsLst>
                  <a:lin ang="5400000" scaled="0"/>
                </a:gradFill>
              </a:defRPr>
            </a:lvl1pPr>
          </a:lstStyle>
          <a:p>
            <a:pPr defTabSz="912847"/>
            <a:fld id="{727B4C2D-45E2-4621-8491-2995EB46A674}" type="slidenum">
              <a:rPr lang="en-US" smtClean="0">
                <a:gradFill>
                  <a:gsLst>
                    <a:gs pos="100000">
                      <a:srgbClr val="797A7D"/>
                    </a:gs>
                    <a:gs pos="0">
                      <a:srgbClr val="797A7D"/>
                    </a:gs>
                  </a:gsLst>
                  <a:lin ang="5400000" scaled="0"/>
                </a:gradFill>
              </a:rPr>
              <a:pPr defTabSz="912847"/>
              <a:t>‹#›</a:t>
            </a:fld>
            <a:endParaRPr lang="en-US" dirty="0">
              <a:gradFill>
                <a:gsLst>
                  <a:gs pos="100000">
                    <a:srgbClr val="797A7D"/>
                  </a:gs>
                  <a:gs pos="0">
                    <a:srgbClr val="797A7D"/>
                  </a:gs>
                </a:gsLst>
                <a:lin ang="5400000" scaled="0"/>
              </a:gradFill>
            </a:endParaRPr>
          </a:p>
        </p:txBody>
      </p:sp>
      <p:sp>
        <p:nvSpPr>
          <p:cNvPr id="9" name="Content Placeholder 5"/>
          <p:cNvSpPr>
            <a:spLocks noGrp="1"/>
          </p:cNvSpPr>
          <p:nvPr>
            <p:ph sz="quarter" idx="13"/>
          </p:nvPr>
        </p:nvSpPr>
        <p:spPr>
          <a:xfrm>
            <a:off x="520838" y="2734988"/>
            <a:ext cx="5445583" cy="6093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1198"/>
              </a:spcBef>
              <a:buFont typeface="Arial" pitchFamily="34" charset="0"/>
              <a:buNone/>
              <a:defRPr lang="en-US" sz="2000" kern="1200" spc="0" dirty="0" smtClean="0">
                <a:gradFill>
                  <a:gsLst>
                    <a:gs pos="100000">
                      <a:schemeClr val="bg2"/>
                    </a:gs>
                    <a:gs pos="0">
                      <a:schemeClr val="bg2"/>
                    </a:gs>
                  </a:gsLst>
                  <a:lin ang="5400000" scaled="0"/>
                </a:gradFill>
                <a:latin typeface="+mn-lt"/>
                <a:ea typeface="+mn-ea"/>
                <a:cs typeface="Segoe UI" pitchFamily="34" charset="0"/>
              </a:defRPr>
            </a:lvl1pPr>
            <a:lvl2pPr marL="912723" indent="-380301">
              <a:defRPr lang="en-US" sz="2100" kern="1200" dirty="0" smtClean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Arial" pitchFamily="34" charset="0"/>
              </a:defRPr>
            </a:lvl2pPr>
            <a:lvl3pPr marL="912723" indent="-228181">
              <a:defRPr lang="en-US" sz="1900" kern="1200" dirty="0" smtClean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Arial" pitchFamily="34" charset="0"/>
              </a:defRPr>
            </a:lvl3pPr>
            <a:lvl4pPr marL="1216965" indent="-228181">
              <a:defRPr lang="en-US" sz="1600" kern="1200" dirty="0" smtClean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Arial" pitchFamily="34" charset="0"/>
              </a:defRPr>
            </a:lvl4pPr>
            <a:lvl5pPr marL="1445146" indent="-228181">
              <a:defRPr lang="en-US" sz="1600" kern="1200" dirty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Arial" pitchFamily="34" charset="0"/>
              </a:defRPr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5740973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/Photo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219711" y="1447803"/>
            <a:ext cx="5434948" cy="11784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4000" b="0" cap="none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608482" indent="0">
              <a:buNone/>
              <a:defRPr sz="2700" b="1"/>
            </a:lvl2pPr>
            <a:lvl3pPr marL="1216965" indent="0">
              <a:buNone/>
              <a:defRPr sz="2400" b="1"/>
            </a:lvl3pPr>
            <a:lvl4pPr marL="1825447" indent="0">
              <a:buNone/>
              <a:defRPr sz="2100" b="1"/>
            </a:lvl4pPr>
            <a:lvl5pPr marL="2433930" indent="0">
              <a:buNone/>
              <a:defRPr sz="2100" b="1"/>
            </a:lvl5pPr>
            <a:lvl6pPr marL="3042413" indent="0">
              <a:buNone/>
              <a:defRPr sz="2100" b="1"/>
            </a:lvl6pPr>
            <a:lvl7pPr marL="3650895" indent="0">
              <a:buNone/>
              <a:defRPr sz="2100" b="1"/>
            </a:lvl7pPr>
            <a:lvl8pPr marL="4259376" indent="0">
              <a:buNone/>
              <a:defRPr sz="2100" b="1"/>
            </a:lvl8pPr>
            <a:lvl9pPr marL="4867860" indent="0">
              <a:buNone/>
              <a:defRPr sz="2100" b="1"/>
            </a:lvl9pPr>
          </a:lstStyle>
          <a:p>
            <a:pPr lvl="0"/>
            <a:r>
              <a:rPr lang="en-US" dirty="0"/>
              <a:t>Click to edit Master text styles.</a:t>
            </a:r>
          </a:p>
        </p:txBody>
      </p:sp>
      <p:sp>
        <p:nvSpPr>
          <p:cNvPr id="9" name="Content Placeholder 5"/>
          <p:cNvSpPr>
            <a:spLocks noGrp="1"/>
          </p:cNvSpPr>
          <p:nvPr>
            <p:ph sz="quarter" idx="13"/>
          </p:nvPr>
        </p:nvSpPr>
        <p:spPr>
          <a:xfrm>
            <a:off x="6219713" y="2734988"/>
            <a:ext cx="5445583" cy="6093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1198"/>
              </a:spcBef>
              <a:buFont typeface="Arial" pitchFamily="34" charset="0"/>
              <a:buNone/>
              <a:defRPr lang="en-US" sz="2000" kern="1200" spc="0" dirty="0" smtClean="0">
                <a:gradFill>
                  <a:gsLst>
                    <a:gs pos="100000">
                      <a:schemeClr val="bg2"/>
                    </a:gs>
                    <a:gs pos="0">
                      <a:schemeClr val="bg2"/>
                    </a:gs>
                  </a:gsLst>
                  <a:lin ang="5400000" scaled="0"/>
                </a:gradFill>
                <a:latin typeface="+mn-lt"/>
                <a:ea typeface="+mn-ea"/>
                <a:cs typeface="Segoe UI" pitchFamily="34" charset="0"/>
              </a:defRPr>
            </a:lvl1pPr>
            <a:lvl2pPr marL="912723" indent="-380301">
              <a:defRPr lang="en-US" sz="2100" kern="1200" dirty="0" smtClean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Arial" pitchFamily="34" charset="0"/>
              </a:defRPr>
            </a:lvl2pPr>
            <a:lvl3pPr marL="912723" indent="-228181">
              <a:defRPr lang="en-US" sz="1900" kern="1200" dirty="0" smtClean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Arial" pitchFamily="34" charset="0"/>
              </a:defRPr>
            </a:lvl3pPr>
            <a:lvl4pPr marL="1216965" indent="-228181">
              <a:defRPr lang="en-US" sz="1600" kern="1200" dirty="0" smtClean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Arial" pitchFamily="34" charset="0"/>
              </a:defRPr>
            </a:lvl4pPr>
            <a:lvl5pPr marL="1445146" indent="-228181">
              <a:defRPr lang="en-US" sz="1600" kern="1200" dirty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Arial" pitchFamily="34" charset="0"/>
              </a:defRPr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1" y="0"/>
            <a:ext cx="5981669" cy="6858000"/>
          </a:xfrm>
        </p:spPr>
        <p:txBody>
          <a:bodyPr lIns="182611" anchor="ctr"/>
          <a:lstStyle>
            <a:lvl1pPr marL="0" indent="0" algn="l">
              <a:buNone/>
              <a:defRPr/>
            </a:lvl1pPr>
          </a:lstStyle>
          <a:p>
            <a:r>
              <a:rPr lang="en-US" dirty="0"/>
              <a:t>Click to insert photo.</a:t>
            </a:r>
          </a:p>
        </p:txBody>
      </p:sp>
    </p:spTree>
    <p:extLst>
      <p:ext uri="{BB962C8B-B14F-4D97-AF65-F5344CB8AC3E}">
        <p14:creationId xmlns:p14="http://schemas.microsoft.com/office/powerpoint/2010/main" val="211534776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Block Header on Left &amp; Text on Righ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white">
          <a:xfrm>
            <a:off x="-9525" y="0"/>
            <a:ext cx="5988023" cy="685800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648" tIns="45648" rIns="45648" bIns="456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258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20835" y="1447803"/>
            <a:ext cx="5233764" cy="166199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4000" b="0" cap="none" baseline="0">
                <a:gradFill>
                  <a:gsLst>
                    <a:gs pos="100000">
                      <a:schemeClr val="bg1"/>
                    </a:gs>
                    <a:gs pos="0">
                      <a:schemeClr val="bg1"/>
                    </a:gs>
                  </a:gsLst>
                  <a:lin ang="5400000" scaled="0"/>
                </a:gradFill>
                <a:latin typeface="+mj-lt"/>
              </a:defRPr>
            </a:lvl1pPr>
            <a:lvl2pPr marL="608482" indent="0">
              <a:buNone/>
              <a:defRPr sz="2700" b="1"/>
            </a:lvl2pPr>
            <a:lvl3pPr marL="1216965" indent="0">
              <a:buNone/>
              <a:defRPr sz="2400" b="1"/>
            </a:lvl3pPr>
            <a:lvl4pPr marL="1825447" indent="0">
              <a:buNone/>
              <a:defRPr sz="2100" b="1"/>
            </a:lvl4pPr>
            <a:lvl5pPr marL="2433930" indent="0">
              <a:buNone/>
              <a:defRPr sz="2100" b="1"/>
            </a:lvl5pPr>
            <a:lvl6pPr marL="3042413" indent="0">
              <a:buNone/>
              <a:defRPr sz="2100" b="1"/>
            </a:lvl6pPr>
            <a:lvl7pPr marL="3650895" indent="0">
              <a:buNone/>
              <a:defRPr sz="2100" b="1"/>
            </a:lvl7pPr>
            <a:lvl8pPr marL="4259376" indent="0">
              <a:buNone/>
              <a:defRPr sz="2100" b="1"/>
            </a:lvl8pPr>
            <a:lvl9pPr marL="4867860" indent="0">
              <a:buNone/>
              <a:defRPr sz="2100" b="1"/>
            </a:lvl9pPr>
          </a:lstStyle>
          <a:p>
            <a:pPr lvl="0"/>
            <a:r>
              <a:rPr lang="en-US" dirty="0"/>
              <a:t>Click to edit Master text styles.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89762" y="1681907"/>
            <a:ext cx="5486169" cy="3323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1198"/>
              </a:spcBef>
              <a:buNone/>
              <a:defRPr lang="en-US" sz="2000" kern="1200" spc="0" dirty="0" smtClean="0">
                <a:gradFill>
                  <a:gsLst>
                    <a:gs pos="100000">
                      <a:schemeClr val="bg2"/>
                    </a:gs>
                    <a:gs pos="0">
                      <a:schemeClr val="bg2"/>
                    </a:gs>
                  </a:gsLst>
                  <a:lin ang="5400000" scaled="0"/>
                </a:gradFill>
                <a:latin typeface="+mn-lt"/>
                <a:ea typeface="+mn-ea"/>
                <a:cs typeface="Segoe UI" pitchFamily="34" charset="0"/>
              </a:defRPr>
            </a:lvl1pPr>
            <a:lvl2pPr marL="912723" indent="-380301">
              <a:defRPr lang="en-US" sz="2100" kern="1200" dirty="0" smtClean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Arial" pitchFamily="34" charset="0"/>
              </a:defRPr>
            </a:lvl2pPr>
            <a:lvl3pPr marL="912723" indent="-228181">
              <a:defRPr lang="en-US" sz="1900" kern="1200" dirty="0" smtClean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Arial" pitchFamily="34" charset="0"/>
              </a:defRPr>
            </a:lvl3pPr>
            <a:lvl4pPr marL="1216965" indent="-228181">
              <a:defRPr lang="en-US" sz="1600" kern="1200" dirty="0" smtClean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Arial" pitchFamily="34" charset="0"/>
              </a:defRPr>
            </a:lvl4pPr>
            <a:lvl5pPr marL="1445146" indent="-228181">
              <a:defRPr lang="en-US" sz="1600" kern="1200" dirty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Arial" pitchFamily="34" charset="0"/>
              </a:defRPr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8802348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Block text w/Photo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 bwMode="white">
          <a:xfrm>
            <a:off x="5968968" y="0"/>
            <a:ext cx="6223032" cy="685800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648" tIns="45648" rIns="45648" bIns="456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258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219711" y="1447803"/>
            <a:ext cx="5434948" cy="11784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4000" b="0" cap="none" baseline="0">
                <a:gradFill>
                  <a:gsLst>
                    <a:gs pos="100000">
                      <a:schemeClr val="bg1"/>
                    </a:gs>
                    <a:gs pos="0">
                      <a:schemeClr val="bg1"/>
                    </a:gs>
                  </a:gsLst>
                  <a:lin ang="5400000" scaled="0"/>
                </a:gradFill>
                <a:latin typeface="+mj-lt"/>
              </a:defRPr>
            </a:lvl1pPr>
            <a:lvl2pPr marL="608482" indent="0">
              <a:buNone/>
              <a:defRPr sz="2700" b="1"/>
            </a:lvl2pPr>
            <a:lvl3pPr marL="1216965" indent="0">
              <a:buNone/>
              <a:defRPr sz="2400" b="1"/>
            </a:lvl3pPr>
            <a:lvl4pPr marL="1825447" indent="0">
              <a:buNone/>
              <a:defRPr sz="2100" b="1"/>
            </a:lvl4pPr>
            <a:lvl5pPr marL="2433930" indent="0">
              <a:buNone/>
              <a:defRPr sz="2100" b="1"/>
            </a:lvl5pPr>
            <a:lvl6pPr marL="3042413" indent="0">
              <a:buNone/>
              <a:defRPr sz="2100" b="1"/>
            </a:lvl6pPr>
            <a:lvl7pPr marL="3650895" indent="0">
              <a:buNone/>
              <a:defRPr sz="2100" b="1"/>
            </a:lvl7pPr>
            <a:lvl8pPr marL="4259376" indent="0">
              <a:buNone/>
              <a:defRPr sz="2100" b="1"/>
            </a:lvl8pPr>
            <a:lvl9pPr marL="4867860" indent="0">
              <a:buNone/>
              <a:defRPr sz="2100" b="1"/>
            </a:lvl9pPr>
          </a:lstStyle>
          <a:p>
            <a:pPr lvl="0"/>
            <a:r>
              <a:rPr lang="en-US" dirty="0"/>
              <a:t>Click to edit Master text styles.</a:t>
            </a:r>
          </a:p>
        </p:txBody>
      </p:sp>
      <p:sp>
        <p:nvSpPr>
          <p:cNvPr id="9" name="Content Placeholder 5"/>
          <p:cNvSpPr>
            <a:spLocks noGrp="1"/>
          </p:cNvSpPr>
          <p:nvPr>
            <p:ph sz="quarter" idx="13"/>
          </p:nvPr>
        </p:nvSpPr>
        <p:spPr>
          <a:xfrm>
            <a:off x="6219713" y="2734988"/>
            <a:ext cx="5445583" cy="6093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1198"/>
              </a:spcBef>
              <a:buFont typeface="Arial" pitchFamily="34" charset="0"/>
              <a:buNone/>
              <a:defRPr lang="en-US" sz="2000" kern="1200" spc="0" dirty="0" smtClean="0">
                <a:gradFill>
                  <a:gsLst>
                    <a:gs pos="100000">
                      <a:schemeClr val="bg1"/>
                    </a:gs>
                    <a:gs pos="0">
                      <a:schemeClr val="bg1"/>
                    </a:gs>
                  </a:gsLst>
                  <a:lin ang="5400000" scaled="0"/>
                </a:gradFill>
                <a:latin typeface="+mn-lt"/>
                <a:ea typeface="+mn-ea"/>
                <a:cs typeface="Segoe UI" pitchFamily="34" charset="0"/>
              </a:defRPr>
            </a:lvl1pPr>
            <a:lvl2pPr marL="912723" indent="-380301">
              <a:defRPr lang="en-US" sz="2100" kern="1200" dirty="0" smtClean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Arial" pitchFamily="34" charset="0"/>
              </a:defRPr>
            </a:lvl2pPr>
            <a:lvl3pPr marL="912723" indent="-228181">
              <a:defRPr lang="en-US" sz="1900" kern="1200" dirty="0" smtClean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Arial" pitchFamily="34" charset="0"/>
              </a:defRPr>
            </a:lvl3pPr>
            <a:lvl4pPr marL="1216965" indent="-228181">
              <a:defRPr lang="en-US" sz="1600" kern="1200" dirty="0" smtClean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Arial" pitchFamily="34" charset="0"/>
              </a:defRPr>
            </a:lvl4pPr>
            <a:lvl5pPr marL="1445146" indent="-228181">
              <a:defRPr lang="en-US" sz="1600" kern="1200" dirty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Arial" pitchFamily="34" charset="0"/>
              </a:defRPr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1" y="0"/>
            <a:ext cx="5981669" cy="6858000"/>
          </a:xfrm>
        </p:spPr>
        <p:txBody>
          <a:bodyPr lIns="182611" anchor="ctr"/>
          <a:lstStyle>
            <a:lvl1pPr marL="0" indent="0" algn="l">
              <a:buNone/>
              <a:defRPr/>
            </a:lvl1pPr>
          </a:lstStyle>
          <a:p>
            <a:r>
              <a:rPr lang="en-US" dirty="0"/>
              <a:t>Click to insert photo.</a:t>
            </a:r>
          </a:p>
        </p:txBody>
      </p:sp>
    </p:spTree>
    <p:extLst>
      <p:ext uri="{BB962C8B-B14F-4D97-AF65-F5344CB8AC3E}">
        <p14:creationId xmlns:p14="http://schemas.microsoft.com/office/powerpoint/2010/main" val="388451273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lor Block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white">
          <a:xfrm>
            <a:off x="0" y="857251"/>
            <a:ext cx="12192000" cy="5124451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648" tIns="45648" rIns="45648" bIns="456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258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520837" y="1358056"/>
            <a:ext cx="11155094" cy="28630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6398">
                <a:gradFill>
                  <a:gsLst>
                    <a:gs pos="100000">
                      <a:schemeClr val="bg1"/>
                    </a:gs>
                    <a:gs pos="0">
                      <a:schemeClr val="bg1"/>
                    </a:gs>
                  </a:gsLst>
                  <a:lin ang="5400000" scaled="0"/>
                </a:gradFill>
                <a:latin typeface="+mj-lt"/>
              </a:defRPr>
            </a:lvl1pPr>
            <a:lvl2pPr>
              <a:defRPr sz="6398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“Click to edit Master text styles”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>
          <a:xfrm>
            <a:off x="520836" y="6399557"/>
            <a:ext cx="560832" cy="219456"/>
          </a:xfrm>
          <a:prstGeom prst="rect">
            <a:avLst/>
          </a:prstGeom>
        </p:spPr>
        <p:txBody>
          <a:bodyPr lIns="121720" tIns="60860" rIns="121720" bIns="60860" anchor="ctr"/>
          <a:lstStyle>
            <a:lvl1pPr algn="l">
              <a:defRPr sz="1600">
                <a:gradFill>
                  <a:gsLst>
                    <a:gs pos="100000">
                      <a:schemeClr val="bg2"/>
                    </a:gs>
                    <a:gs pos="0">
                      <a:schemeClr val="bg2"/>
                    </a:gs>
                  </a:gsLst>
                  <a:lin ang="5400000" scaled="0"/>
                </a:gradFill>
              </a:defRPr>
            </a:lvl1pPr>
          </a:lstStyle>
          <a:p>
            <a:pPr defTabSz="912847"/>
            <a:fld id="{727B4C2D-45E2-4621-8491-2995EB46A674}" type="slidenum">
              <a:rPr lang="en-US" smtClean="0">
                <a:gradFill>
                  <a:gsLst>
                    <a:gs pos="100000">
                      <a:srgbClr val="797A7D"/>
                    </a:gs>
                    <a:gs pos="0">
                      <a:srgbClr val="797A7D"/>
                    </a:gs>
                  </a:gsLst>
                  <a:lin ang="5400000" scaled="0"/>
                </a:gradFill>
              </a:rPr>
              <a:pPr defTabSz="912847"/>
              <a:t>‹#›</a:t>
            </a:fld>
            <a:endParaRPr lang="en-US" dirty="0">
              <a:gradFill>
                <a:gsLst>
                  <a:gs pos="100000">
                    <a:srgbClr val="797A7D"/>
                  </a:gs>
                  <a:gs pos="0">
                    <a:srgbClr val="797A7D"/>
                  </a:gs>
                </a:gsLst>
                <a:lin ang="5400000" scaled="0"/>
              </a:gradFill>
            </a:endParaRPr>
          </a:p>
        </p:txBody>
      </p:sp>
      <p:sp>
        <p:nvSpPr>
          <p:cNvPr id="11" name="Content Placeholder 4"/>
          <p:cNvSpPr>
            <a:spLocks noGrp="1"/>
          </p:cNvSpPr>
          <p:nvPr>
            <p:ph sz="quarter" idx="13"/>
          </p:nvPr>
        </p:nvSpPr>
        <p:spPr>
          <a:xfrm>
            <a:off x="520837" y="4343403"/>
            <a:ext cx="11155094" cy="47074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3600">
                <a:gradFill>
                  <a:gsLst>
                    <a:gs pos="100000">
                      <a:schemeClr val="bg1"/>
                    </a:gs>
                    <a:gs pos="0">
                      <a:schemeClr val="bg1"/>
                    </a:gs>
                  </a:gsLst>
                  <a:lin ang="5400000" scaled="0"/>
                </a:gradFill>
                <a:latin typeface="+mj-lt"/>
              </a:defRPr>
            </a:lvl1pPr>
            <a:lvl2pPr>
              <a:defRPr sz="6398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644851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- STATIC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1104" y="3877271"/>
            <a:ext cx="6273418" cy="1794661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529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3" y="2075840"/>
            <a:ext cx="9860610" cy="1801436"/>
          </a:xfrm>
          <a:noFill/>
        </p:spPr>
        <p:txBody>
          <a:bodyPr lIns="146304" tIns="91440" rIns="146304" bIns="91440" anchor="t" anchorCtr="0"/>
          <a:lstStyle>
            <a:lvl1pPr>
              <a:defRPr sz="5882" spc="-98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1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449322" y="6061766"/>
            <a:ext cx="1522404" cy="326167"/>
          </a:xfrm>
          <a:prstGeom prst="rect">
            <a:avLst/>
          </a:prstGeom>
        </p:spPr>
      </p:pic>
      <p:sp>
        <p:nvSpPr>
          <p:cNvPr id="8" name="Rectangle 6"/>
          <p:cNvSpPr>
            <a:spLocks noChangeArrowheads="1"/>
          </p:cNvSpPr>
          <p:nvPr userDrawn="1"/>
        </p:nvSpPr>
        <p:spPr bwMode="auto">
          <a:xfrm>
            <a:off x="3113" y="4309988"/>
            <a:ext cx="12188887" cy="25511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3" hasCustomPrompt="1"/>
          </p:nvPr>
        </p:nvSpPr>
        <p:spPr>
          <a:xfrm>
            <a:off x="269239" y="291069"/>
            <a:ext cx="3585699" cy="452654"/>
          </a:xfrm>
        </p:spPr>
        <p:txBody>
          <a:bodyPr/>
          <a:lstStyle>
            <a:lvl1pPr marL="0" indent="0">
              <a:buNone/>
              <a:defRPr sz="1961">
                <a:latin typeface="+mn-lt"/>
              </a:defRPr>
            </a:lvl1pPr>
            <a:lvl2pPr marL="336145" indent="0">
              <a:buNone/>
              <a:defRPr sz="1961"/>
            </a:lvl2pPr>
            <a:lvl3pPr marL="560241" indent="0">
              <a:buNone/>
              <a:defRPr sz="1961"/>
            </a:lvl3pPr>
            <a:lvl4pPr marL="784338" indent="0">
              <a:buNone/>
              <a:defRPr sz="1961"/>
            </a:lvl4pPr>
            <a:lvl5pPr marL="1008435" indent="0">
              <a:buNone/>
              <a:defRPr sz="1961"/>
            </a:lvl5pPr>
          </a:lstStyle>
          <a:p>
            <a:pPr lvl="0"/>
            <a:r>
              <a:rPr lang="en-US" dirty="0"/>
              <a:t>Session Code</a:t>
            </a:r>
          </a:p>
        </p:txBody>
      </p:sp>
      <p:sp>
        <p:nvSpPr>
          <p:cNvPr id="10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8337064" y="291069"/>
            <a:ext cx="3585699" cy="452654"/>
          </a:xfrm>
        </p:spPr>
        <p:txBody>
          <a:bodyPr/>
          <a:lstStyle>
            <a:lvl1pPr marL="0" indent="0" algn="r">
              <a:buNone/>
              <a:defRPr sz="1961">
                <a:latin typeface="+mn-lt"/>
              </a:defRPr>
            </a:lvl1pPr>
            <a:lvl2pPr marL="336145" indent="0">
              <a:buNone/>
              <a:defRPr sz="1961"/>
            </a:lvl2pPr>
            <a:lvl3pPr marL="560241" indent="0">
              <a:buNone/>
              <a:defRPr sz="1961"/>
            </a:lvl3pPr>
            <a:lvl4pPr marL="784338" indent="0">
              <a:buNone/>
              <a:defRPr sz="1961"/>
            </a:lvl4pPr>
            <a:lvl5pPr marL="1008435" indent="0">
              <a:buNone/>
              <a:defRPr sz="1961"/>
            </a:lvl5pPr>
          </a:lstStyle>
          <a:p>
            <a:pPr lvl="0"/>
            <a:r>
              <a:rPr lang="en-US" dirty="0"/>
              <a:t>Yammer hashtag</a:t>
            </a:r>
          </a:p>
        </p:txBody>
      </p:sp>
    </p:spTree>
    <p:extLst>
      <p:ext uri="{BB962C8B-B14F-4D97-AF65-F5344CB8AC3E}">
        <p14:creationId xmlns:p14="http://schemas.microsoft.com/office/powerpoint/2010/main" val="4173762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9"/>
          <p:cNvSpPr>
            <a:spLocks noGrp="1"/>
          </p:cNvSpPr>
          <p:nvPr>
            <p:ph type="sldNum" sz="quarter" idx="12"/>
          </p:nvPr>
        </p:nvSpPr>
        <p:spPr>
          <a:xfrm>
            <a:off x="520836" y="6399557"/>
            <a:ext cx="560832" cy="219456"/>
          </a:xfrm>
          <a:prstGeom prst="rect">
            <a:avLst/>
          </a:prstGeom>
        </p:spPr>
        <p:txBody>
          <a:bodyPr lIns="121720" tIns="60860" rIns="121720" bIns="60860" anchor="ctr"/>
          <a:lstStyle>
            <a:lvl1pPr algn="l">
              <a:defRPr sz="1600">
                <a:gradFill>
                  <a:gsLst>
                    <a:gs pos="100000">
                      <a:schemeClr val="bg2"/>
                    </a:gs>
                    <a:gs pos="0">
                      <a:schemeClr val="bg2"/>
                    </a:gs>
                  </a:gsLst>
                  <a:lin ang="5400000" scaled="0"/>
                </a:gradFill>
              </a:defRPr>
            </a:lvl1pPr>
          </a:lstStyle>
          <a:p>
            <a:pPr defTabSz="912847"/>
            <a:fld id="{727B4C2D-45E2-4621-8491-2995EB46A674}" type="slidenum">
              <a:rPr lang="en-US" smtClean="0">
                <a:gradFill>
                  <a:gsLst>
                    <a:gs pos="100000">
                      <a:srgbClr val="797A7D"/>
                    </a:gs>
                    <a:gs pos="0">
                      <a:srgbClr val="797A7D"/>
                    </a:gs>
                  </a:gsLst>
                  <a:lin ang="5400000" scaled="0"/>
                </a:gradFill>
              </a:rPr>
              <a:pPr defTabSz="912847"/>
              <a:t>‹#›</a:t>
            </a:fld>
            <a:endParaRPr lang="en-US" dirty="0">
              <a:gradFill>
                <a:gsLst>
                  <a:gs pos="100000">
                    <a:srgbClr val="797A7D"/>
                  </a:gs>
                  <a:gs pos="0">
                    <a:srgbClr val="797A7D"/>
                  </a:gs>
                </a:gsLst>
                <a:lin ang="5400000" scaled="0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4147970947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123508" y="6492874"/>
            <a:ext cx="4114800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9448800" y="6492875"/>
            <a:ext cx="2743200" cy="365125"/>
          </a:xfrm>
        </p:spPr>
        <p:txBody>
          <a:bodyPr/>
          <a:lstStyle/>
          <a:p>
            <a:fld id="{181CF616-2147-47D1-AC15-426E79233E4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5115772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81CF616-2147-47D1-AC15-426E79233E4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4094648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0" y="1155942"/>
            <a:ext cx="12192000" cy="5702060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648" tIns="45648" rIns="45648" bIns="456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258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9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18454" y="1447801"/>
            <a:ext cx="11155094" cy="1988237"/>
          </a:xfrm>
        </p:spPr>
        <p:txBody>
          <a:bodyPr/>
          <a:lstStyle>
            <a:lvl1pPr marL="0" indent="0">
              <a:lnSpc>
                <a:spcPct val="95000"/>
              </a:lnSpc>
              <a:buNone/>
              <a:defRPr sz="3200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itchFamily="49" charset="0"/>
                <a:cs typeface="Consolas" pitchFamily="49" charset="0"/>
              </a:defRPr>
            </a:lvl1pPr>
            <a:lvl2pPr marL="339162" indent="0">
              <a:lnSpc>
                <a:spcPct val="95000"/>
              </a:lnSpc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itchFamily="49" charset="0"/>
                <a:cs typeface="Consolas" pitchFamily="49" charset="0"/>
              </a:defRPr>
            </a:lvl2pPr>
            <a:lvl3pPr marL="572137" indent="0">
              <a:lnSpc>
                <a:spcPct val="95000"/>
              </a:lnSpc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itchFamily="49" charset="0"/>
                <a:cs typeface="Consolas" pitchFamily="49" charset="0"/>
              </a:defRPr>
            </a:lvl3pPr>
            <a:lvl4pPr marL="797189" indent="0">
              <a:lnSpc>
                <a:spcPct val="95000"/>
              </a:lnSpc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itchFamily="49" charset="0"/>
                <a:cs typeface="Consolas" pitchFamily="49" charset="0"/>
              </a:defRPr>
            </a:lvl4pPr>
            <a:lvl5pPr marL="1028580" indent="0">
              <a:lnSpc>
                <a:spcPct val="95000"/>
              </a:lnSpc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itchFamily="49" charset="0"/>
                <a:cs typeface="Consolas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4581888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white">
          <a:xfrm>
            <a:off x="520837" y="228602"/>
            <a:ext cx="11155094" cy="664797"/>
          </a:xfrm>
        </p:spPr>
        <p:txBody>
          <a:bodyPr/>
          <a:lstStyle>
            <a:lvl1pPr>
              <a:defRPr sz="4800" baseline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519250" y="1447799"/>
            <a:ext cx="11151917" cy="2043636"/>
          </a:xfrm>
          <a:prstGeom prst="rect">
            <a:avLst/>
          </a:prstGeom>
        </p:spPr>
        <p:txBody>
          <a:bodyPr/>
          <a:lstStyle>
            <a:lvl1pPr marL="342332" indent="-342332">
              <a:buClr>
                <a:srgbClr val="FFFFFF"/>
              </a:buClr>
              <a:buSzPct val="90000"/>
              <a:buFont typeface="Arial" pitchFamily="34" charset="0"/>
              <a:buChar char="•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627607" indent="-285276">
              <a:buClr>
                <a:srgbClr val="FFFFFF"/>
              </a:buClr>
              <a:buSzPct val="90000"/>
              <a:buFont typeface="Arial" pitchFamily="34" charset="0"/>
              <a:buChar char="•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912883" indent="-285276">
              <a:buClr>
                <a:srgbClr val="FFFFFF"/>
              </a:buClr>
              <a:buSzPct val="90000"/>
              <a:buFont typeface="Arial" pitchFamily="34" charset="0"/>
              <a:buChar char="•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141104" indent="-228221">
              <a:buClr>
                <a:srgbClr val="FFFFFF"/>
              </a:buClr>
              <a:buSzPct val="90000"/>
              <a:buFont typeface="Arial" pitchFamily="34" charset="0"/>
              <a:buChar char="•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69325" indent="-228221">
              <a:buClr>
                <a:srgbClr val="FFFFFF"/>
              </a:buClr>
              <a:buSzPct val="90000"/>
              <a:buFont typeface="Arial" pitchFamily="34" charset="0"/>
              <a:buChar char="•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" y="6238877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2171" tIns="76085" rIns="152171" bIns="76085" anchor="b" anchorCtr="0">
            <a:noAutofit/>
          </a:bodyPr>
          <a:lstStyle>
            <a:lvl1pPr algn="r">
              <a:buFont typeface="Arial" pitchFamily="34" charset="0"/>
              <a:buNone/>
              <a:defRPr sz="36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</p:spTree>
    <p:extLst>
      <p:ext uri="{BB962C8B-B14F-4D97-AF65-F5344CB8AC3E}">
        <p14:creationId xmlns:p14="http://schemas.microsoft.com/office/powerpoint/2010/main" val="2061922822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81885332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2 Ligh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8928" y="291104"/>
            <a:ext cx="11653834" cy="1793071"/>
          </a:xfrm>
        </p:spPr>
        <p:txBody>
          <a:bodyPr/>
          <a:lstStyle>
            <a:lvl1pPr>
              <a:defRPr sz="5685">
                <a:gradFill>
                  <a:gsLst>
                    <a:gs pos="56637">
                      <a:schemeClr val="tx1"/>
                    </a:gs>
                    <a:gs pos="33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69240" y="2546470"/>
            <a:ext cx="7171399" cy="510524"/>
          </a:xfrm>
        </p:spPr>
        <p:txBody>
          <a:bodyPr/>
          <a:lstStyle>
            <a:lvl1pPr marL="0" indent="0">
              <a:buNone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sz="2353"/>
            </a:lvl2pPr>
            <a:lvl3pPr>
              <a:defRPr sz="2353"/>
            </a:lvl3pPr>
            <a:lvl4pPr>
              <a:defRPr sz="2353"/>
            </a:lvl4pPr>
            <a:lvl5pPr>
              <a:defRPr sz="2353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85034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971745-886A-4932-8FDC-F3000C4EA022}" type="datetimeFigureOut">
              <a:rPr lang="en-US" smtClean="0"/>
              <a:t>12/19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A1C54D-7940-44F0-9BFA-CA981B3A8F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35950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">
    <p:bg bwMode="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1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221384" y="6061766"/>
            <a:ext cx="1522404" cy="326167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859" y="484298"/>
            <a:ext cx="7353245" cy="134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429108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288">
          <p15:clr>
            <a:srgbClr val="C35EA4"/>
          </p15:clr>
        </p15:guide>
        <p15:guide id="2" pos="7546">
          <p15:clr>
            <a:srgbClr val="C35EA4"/>
          </p15:clr>
        </p15:guide>
        <p15:guide id="3" orient="horz" pos="302">
          <p15:clr>
            <a:srgbClr val="C35EA4"/>
          </p15:clr>
        </p15:guide>
        <p15:guide id="4" orient="horz" pos="4104">
          <p15:clr>
            <a:srgbClr val="C35EA4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ANIMATED">
    <p:bg bwMode="auto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5"/>
          <p:cNvSpPr>
            <a:spLocks noChangeArrowheads="1"/>
          </p:cNvSpPr>
          <p:nvPr userDrawn="1"/>
        </p:nvSpPr>
        <p:spPr bwMode="auto">
          <a:xfrm>
            <a:off x="3113" y="4309988"/>
            <a:ext cx="12188887" cy="2551127"/>
          </a:xfrm>
          <a:prstGeom prst="rect">
            <a:avLst/>
          </a:prstGeom>
          <a:solidFill>
            <a:srgbClr val="4D9ED7"/>
          </a:solidFill>
          <a:ln>
            <a:noFill/>
          </a:ln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auto">
          <a:xfrm>
            <a:off x="1" y="5729528"/>
            <a:ext cx="12188888" cy="1131586"/>
          </a:xfrm>
          <a:prstGeom prst="rect">
            <a:avLst/>
          </a:prstGeom>
          <a:solidFill>
            <a:srgbClr val="00188F"/>
          </a:solidFill>
          <a:ln>
            <a:noFill/>
          </a:ln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1" name="Rectangle 8"/>
          <p:cNvSpPr>
            <a:spLocks noChangeArrowheads="1"/>
          </p:cNvSpPr>
          <p:nvPr userDrawn="1"/>
        </p:nvSpPr>
        <p:spPr bwMode="auto">
          <a:xfrm>
            <a:off x="3113" y="3343392"/>
            <a:ext cx="12185777" cy="277059"/>
          </a:xfrm>
          <a:prstGeom prst="rect">
            <a:avLst/>
          </a:prstGeom>
          <a:solidFill>
            <a:srgbClr val="25B9E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623" y="-312"/>
            <a:ext cx="12191377" cy="6858623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1104" y="3877271"/>
            <a:ext cx="6273418" cy="1794661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529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3" y="2075840"/>
            <a:ext cx="9860610" cy="1801436"/>
          </a:xfrm>
          <a:noFill/>
        </p:spPr>
        <p:txBody>
          <a:bodyPr lIns="146304" tIns="91440" rIns="146304" bIns="91440" anchor="t" anchorCtr="0"/>
          <a:lstStyle>
            <a:lvl1pPr>
              <a:defRPr sz="5882" spc="-98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1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449322" y="6061766"/>
            <a:ext cx="1522404" cy="326167"/>
          </a:xfrm>
          <a:prstGeom prst="rect">
            <a:avLst/>
          </a:prstGeom>
        </p:spPr>
      </p:pic>
      <p:sp>
        <p:nvSpPr>
          <p:cNvPr id="8" name="Rectangle 6"/>
          <p:cNvSpPr>
            <a:spLocks noChangeArrowheads="1"/>
          </p:cNvSpPr>
          <p:nvPr userDrawn="1"/>
        </p:nvSpPr>
        <p:spPr bwMode="auto">
          <a:xfrm>
            <a:off x="3113" y="4309988"/>
            <a:ext cx="12188887" cy="25511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4" name="TextBox 7"/>
          <p:cNvSpPr txBox="1"/>
          <p:nvPr userDrawn="1"/>
        </p:nvSpPr>
        <p:spPr bwMode="white">
          <a:xfrm>
            <a:off x="4244628" y="6566924"/>
            <a:ext cx="3702745" cy="15837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96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29" b="0" i="0" u="none" strike="noStrike" kern="1200" cap="none" spc="147" normalizeH="0" baseline="0" noProof="0" dirty="0">
                <a:ln>
                  <a:noFill/>
                </a:ln>
                <a:gradFill>
                  <a:gsLst>
                    <a:gs pos="0">
                      <a:srgbClr val="FFFFFF">
                        <a:alpha val="50000"/>
                      </a:srgbClr>
                    </a:gs>
                    <a:gs pos="86000">
                      <a:srgbClr val="FFFFFF">
                        <a:alpha val="5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Semibold" pitchFamily="34" charset="0"/>
                <a:ea typeface="+mn-ea"/>
                <a:cs typeface="+mn-cs"/>
              </a:rPr>
              <a:t>MICROSOFT CONFIDENTIAL – INTERNAL ONLY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3" hasCustomPrompt="1"/>
          </p:nvPr>
        </p:nvSpPr>
        <p:spPr>
          <a:xfrm>
            <a:off x="269239" y="291069"/>
            <a:ext cx="3585699" cy="452654"/>
          </a:xfrm>
        </p:spPr>
        <p:txBody>
          <a:bodyPr/>
          <a:lstStyle>
            <a:lvl1pPr marL="0" indent="0">
              <a:buNone/>
              <a:defRPr sz="1961">
                <a:latin typeface="+mn-lt"/>
              </a:defRPr>
            </a:lvl1pPr>
            <a:lvl2pPr marL="336145" indent="0">
              <a:buNone/>
              <a:defRPr sz="1961"/>
            </a:lvl2pPr>
            <a:lvl3pPr marL="560241" indent="0">
              <a:buNone/>
              <a:defRPr sz="1961"/>
            </a:lvl3pPr>
            <a:lvl4pPr marL="784338" indent="0">
              <a:buNone/>
              <a:defRPr sz="1961"/>
            </a:lvl4pPr>
            <a:lvl5pPr marL="1008435" indent="0">
              <a:buNone/>
              <a:defRPr sz="1961"/>
            </a:lvl5pPr>
          </a:lstStyle>
          <a:p>
            <a:pPr lvl="0"/>
            <a:r>
              <a:rPr lang="en-US" dirty="0"/>
              <a:t>Session Code</a:t>
            </a:r>
          </a:p>
        </p:txBody>
      </p:sp>
    </p:spTree>
    <p:extLst>
      <p:ext uri="{BB962C8B-B14F-4D97-AF65-F5344CB8AC3E}">
        <p14:creationId xmlns:p14="http://schemas.microsoft.com/office/powerpoint/2010/main" val="2720403495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3" presetClass="path" presetSubtype="0" accel="24000" decel="76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3.25011E-6 L 1.00728 3.25011E-6 " pathEditMode="relative" rAng="0" ptsTypes="AA">
                                      <p:cBhvr>
                                        <p:cTn id="6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0357" y="0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63" presetClass="path" presetSubtype="0" accel="24000" decel="76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0 3.25011E-6 L 1.00728 3.25011E-6 " pathEditMode="relative" rAng="0" ptsTypes="AA">
                                      <p:cBhvr>
                                        <p:cTn id="8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0357" y="0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63" presetClass="path" presetSubtype="0" accel="24000" decel="76000" fill="hold" grpId="0" nodeType="withEffect">
                                  <p:stCondLst>
                                    <p:cond delay="150"/>
                                  </p:stCondLst>
                                  <p:childTnLst>
                                    <p:animMotion origin="layout" path="M 0 3.25011E-6 L 1.00728 3.25011E-6 " pathEditMode="relative" rAng="0" ptsTypes="AA">
                                      <p:cBhvr>
                                        <p:cTn id="10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0357" y="0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9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63" presetClass="path" presetSubtype="0" decel="10000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-0.01455 -1.34362E-6 L -3.90605E-7 -1.34362E-6 " pathEditMode="relative" rAng="0" ptsTypes="AA">
                                      <p:cBhvr>
                                        <p:cTn id="17" dur="9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18" presetID="6" presetClass="emph" presetSubtype="0" accel="100000" autoRev="1" fill="hold" grpId="2" nodeType="withEffect">
                                  <p:stCondLst>
                                    <p:cond delay="50"/>
                                  </p:stCondLst>
                                  <p:childTnLst>
                                    <p:animScale>
                                      <p:cBhvr>
                                        <p:cTn id="19" dur="500" fill="hold"/>
                                        <p:tgtEl>
                                          <p:spTgt spid="9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9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63" presetClass="path" presetSubtype="0" decel="100000" fill="hold" grpId="1" nodeType="withEffect">
                                  <p:stCondLst>
                                    <p:cond delay="800"/>
                                  </p:stCondLst>
                                  <p:childTnLst>
                                    <p:animMotion origin="layout" path="M -0.01455 -1.34362E-6 L -3.90605E-7 -1.34362E-6 " pathEditMode="relative" rAng="0" ptsTypes="AA">
                                      <p:cBhvr>
                                        <p:cTn id="24" dur="9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6" presetClass="emph" presetSubtype="0" accel="100000" autoRev="1" fill="hold" grpId="2" nodeType="withEffect">
                                  <p:stCondLst>
                                    <p:cond delay="100"/>
                                  </p:stCondLst>
                                  <p:childTnLst>
                                    <p:animScale>
                                      <p:cBhvr>
                                        <p:cTn id="26" dur="500" fill="hold"/>
                                        <p:tgtEl>
                                          <p:spTgt spid="5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9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63" presetClass="path" presetSubtype="0" decel="10000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animMotion origin="layout" path="M -0.01455 -1.34362E-6 L -3.90605E-7 -1.34362E-6 " pathEditMode="relative" rAng="0" ptsTypes="AA">
                                      <p:cBhvr>
                                        <p:cTn id="31" dur="9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32" presetID="6" presetClass="emph" presetSubtype="0" accel="100000" autoRev="1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Scale>
                                      <p:cBhvr>
                                        <p:cTn id="33" dur="500" fill="hold"/>
                                        <p:tgtEl>
                                          <p:spTgt spid="6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9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63" presetClass="path" presetSubtype="0" decel="100000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-0.01455 -1.34362E-6 L -3.90605E-7 -1.34362E-6 " pathEditMode="relative" rAng="0" ptsTypes="AA">
                                      <p:cBhvr>
                                        <p:cTn id="38" dur="9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39" presetID="6" presetClass="emph" presetSubtype="0" accel="100000" autoRev="1" fill="hold" grpId="2" nodeType="withEffect">
                                  <p:stCondLst>
                                    <p:cond delay="300"/>
                                  </p:stCondLst>
                                  <p:childTnLst>
                                    <p:animScale>
                                      <p:cBhvr>
                                        <p:cTn id="40" dur="500" fill="hold"/>
                                        <p:tgtEl>
                                          <p:spTgt spid="14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9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63" presetClass="path" presetSubtype="0" decel="100000" fill="hold" grpId="1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-0.01455 -1.34362E-6 L -3.90605E-7 -1.34362E-6 " pathEditMode="relative" rAng="0" ptsTypes="AA">
                                      <p:cBhvr>
                                        <p:cTn id="45" dur="9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" presetClass="emph" presetSubtype="0" accel="100000" autoRev="1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47" dur="500" fill="hold"/>
                                        <p:tgtEl>
                                          <p:spTgt spid="17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0" grpId="0" animBg="1"/>
      <p:bldP spid="11" grpId="0" animBg="1"/>
      <p:bldP spid="13" grpId="0" animBg="1"/>
      <p:bldP spid="5" grpId="0">
        <p:tmplLst>
          <p:tmpl>
            <p:tnLst>
              <p:par>
                <p:cTn presetID="10" presetClass="entr" presetSubtype="0" fill="hold" nodeType="withEffect">
                  <p:stCondLst>
                    <p:cond delay="8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95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" grpId="1">
        <p:tmplLst>
          <p:tmpl>
            <p:tnLst>
              <p:par>
                <p:cTn presetID="63" presetClass="path" presetSubtype="0" decel="100000" fill="hold" nodeType="withEffect">
                  <p:stCondLst>
                    <p:cond delay="800"/>
                  </p:stCondLst>
                  <p:childTnLst>
                    <p:animMotion origin="layout" path="M -0.01455 -1.34362E-6 L -3.90605E-7 -1.34362E-6 " pathEditMode="relative" rAng="0" ptsTypes="AA">
                      <p:cBhvr>
                        <p:cTn dur="950" fill="hold"/>
                        <p:tgtEl>
                          <p:spTgt spid="5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728" y="0"/>
                    </p:animMotion>
                  </p:childTnLst>
                </p:cTn>
              </p:par>
            </p:tnLst>
          </p:tmpl>
        </p:tmplLst>
      </p:bldP>
      <p:bldP spid="5" grpId="2">
        <p:tmplLst>
          <p:tmpl>
            <p:tnLst>
              <p:par>
                <p:cTn presetID="6" presetClass="emph" presetSubtype="0" accel="100000" autoRev="1" fill="hold" nodeType="withEffect">
                  <p:stCondLst>
                    <p:cond delay="100"/>
                  </p:stCondLst>
                  <p:childTnLst>
                    <p:animScale>
                      <p:cBhvr>
                        <p:cTn dur="500" fill="hold"/>
                        <p:tgtEl>
                          <p:spTgt spid="5"/>
                        </p:tgtEl>
                      </p:cBhvr>
                      <p:by x="95000" y="95000"/>
                    </p:animScale>
                  </p:childTnLst>
                </p:cTn>
              </p:par>
            </p:tnLst>
          </p:tmpl>
        </p:tmplLst>
      </p:bldP>
      <p:bldP spid="9" grpId="0"/>
      <p:bldP spid="9" grpId="1"/>
      <p:bldP spid="9" grpId="2"/>
      <p:bldP spid="14" grpId="0"/>
      <p:bldP spid="14" grpId="1"/>
      <p:bldP spid="14" grpId="2"/>
      <p:bldP spid="17" grpId="0">
        <p:tmplLst>
          <p:tmpl>
            <p:tnLst>
              <p:par>
                <p:cTn presetID="10" presetClass="entr" presetSubtype="0" fill="hold" nodeType="withEffect">
                  <p:stCondLst>
                    <p:cond delay="7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95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7" grpId="1"/>
      <p:bldP spid="17" grpId="2"/>
    </p:bldLst>
  </p:timing>
  <p:extLst>
    <p:ext uri="{DCECCB84-F9BA-43D5-87BE-67443E8EF086}">
      <p15:sldGuideLst xmlns:p15="http://schemas.microsoft.com/office/powerpoint/2012/main">
        <p15:guide id="4" orient="horz" pos="4406">
          <p15:clr>
            <a:srgbClr val="C35EA4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604953" y="298255"/>
            <a:ext cx="4322760" cy="6275864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 bwMode="auto">
          <a:xfrm>
            <a:off x="269302" y="1187644"/>
            <a:ext cx="9860610" cy="2689632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6"/>
            <a:ext cx="7170265" cy="3407696"/>
          </a:xfrm>
          <a:noFill/>
        </p:spPr>
        <p:txBody>
          <a:bodyPr tIns="91440" bIns="91440" anchor="t" anchorCtr="0"/>
          <a:lstStyle>
            <a:lvl1pPr>
              <a:defRPr sz="7058" spc="-98" baseline="0">
                <a:gradFill>
                  <a:gsLst>
                    <a:gs pos="75912">
                      <a:schemeClr val="tx1"/>
                    </a:gs>
                    <a:gs pos="34307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4594052"/>
            <a:ext cx="7171399" cy="1793881"/>
          </a:xfrm>
          <a:noFill/>
        </p:spPr>
        <p:txBody>
          <a:bodyPr lIns="182880" tIns="146304" rIns="182880" bIns="146304">
            <a:noAutofit/>
          </a:bodyPr>
          <a:lstStyle>
            <a:lvl1pPr marL="0" indent="0">
              <a:spcBef>
                <a:spcPts val="0"/>
              </a:spcBef>
              <a:buNone/>
              <a:defRPr sz="3529" spc="0" baseline="0">
                <a:gradFill>
                  <a:gsLst>
                    <a:gs pos="75912">
                      <a:schemeClr val="tx1"/>
                    </a:gs>
                    <a:gs pos="34307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1494989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- STATIC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1104" y="3877271"/>
            <a:ext cx="6273418" cy="1794661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529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3" y="2075840"/>
            <a:ext cx="9860610" cy="1801436"/>
          </a:xfrm>
          <a:noFill/>
        </p:spPr>
        <p:txBody>
          <a:bodyPr lIns="146304" tIns="91440" rIns="146304" bIns="91440" anchor="t" anchorCtr="0"/>
          <a:lstStyle>
            <a:lvl1pPr>
              <a:defRPr sz="5882" spc="-98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1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449322" y="6061766"/>
            <a:ext cx="1522404" cy="326167"/>
          </a:xfrm>
          <a:prstGeom prst="rect">
            <a:avLst/>
          </a:prstGeom>
        </p:spPr>
      </p:pic>
      <p:sp>
        <p:nvSpPr>
          <p:cNvPr id="8" name="Rectangle 6"/>
          <p:cNvSpPr>
            <a:spLocks noChangeArrowheads="1"/>
          </p:cNvSpPr>
          <p:nvPr userDrawn="1"/>
        </p:nvSpPr>
        <p:spPr bwMode="auto">
          <a:xfrm>
            <a:off x="3113" y="4309988"/>
            <a:ext cx="12188887" cy="25511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9642" tIns="44821" rIns="89642" bIns="44821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4" name="TextBox 7"/>
          <p:cNvSpPr txBox="1"/>
          <p:nvPr userDrawn="1"/>
        </p:nvSpPr>
        <p:spPr bwMode="white">
          <a:xfrm>
            <a:off x="4244628" y="6566924"/>
            <a:ext cx="3702745" cy="15837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96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29" b="0" i="0" u="none" strike="noStrike" kern="1200" cap="none" spc="147" normalizeH="0" baseline="0" noProof="0" dirty="0">
                <a:ln>
                  <a:noFill/>
                </a:ln>
                <a:gradFill>
                  <a:gsLst>
                    <a:gs pos="0">
                      <a:srgbClr val="FFFFFF">
                        <a:alpha val="50000"/>
                      </a:srgbClr>
                    </a:gs>
                    <a:gs pos="86000">
                      <a:srgbClr val="FFFFFF">
                        <a:alpha val="5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Semibold" pitchFamily="34" charset="0"/>
                <a:ea typeface="+mn-ea"/>
                <a:cs typeface="+mn-cs"/>
              </a:rPr>
              <a:t>MICROSOFT CONFIDENTIAL – INTERNAL ONLY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3" hasCustomPrompt="1"/>
          </p:nvPr>
        </p:nvSpPr>
        <p:spPr>
          <a:xfrm>
            <a:off x="269239" y="291069"/>
            <a:ext cx="3585699" cy="452654"/>
          </a:xfrm>
        </p:spPr>
        <p:txBody>
          <a:bodyPr/>
          <a:lstStyle>
            <a:lvl1pPr marL="0" indent="0">
              <a:buNone/>
              <a:defRPr sz="1961">
                <a:latin typeface="+mn-lt"/>
              </a:defRPr>
            </a:lvl1pPr>
            <a:lvl2pPr marL="336145" indent="0">
              <a:buNone/>
              <a:defRPr sz="1961"/>
            </a:lvl2pPr>
            <a:lvl3pPr marL="560241" indent="0">
              <a:buNone/>
              <a:defRPr sz="1961"/>
            </a:lvl3pPr>
            <a:lvl4pPr marL="784338" indent="0">
              <a:buNone/>
              <a:defRPr sz="1961"/>
            </a:lvl4pPr>
            <a:lvl5pPr marL="1008435" indent="0">
              <a:buNone/>
              <a:defRPr sz="1961"/>
            </a:lvl5pPr>
          </a:lstStyle>
          <a:p>
            <a:pPr lvl="0"/>
            <a:r>
              <a:rPr lang="en-US" dirty="0"/>
              <a:t>Session Code</a:t>
            </a:r>
          </a:p>
        </p:txBody>
      </p:sp>
    </p:spTree>
    <p:extLst>
      <p:ext uri="{BB962C8B-B14F-4D97-AF65-F5344CB8AC3E}">
        <p14:creationId xmlns:p14="http://schemas.microsoft.com/office/powerpoint/2010/main" val="22298523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fidentiality Slide">
    <p:bg bwMode="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white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9733563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38600" y="298255"/>
            <a:ext cx="5289112" cy="6275864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 bwMode="auto">
          <a:xfrm>
            <a:off x="269302" y="1187644"/>
            <a:ext cx="9860610" cy="2689632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6"/>
            <a:ext cx="7170265" cy="3407696"/>
          </a:xfrm>
          <a:noFill/>
        </p:spPr>
        <p:txBody>
          <a:bodyPr tIns="91440" bIns="91440" anchor="t" anchorCtr="0"/>
          <a:lstStyle>
            <a:lvl1pPr>
              <a:defRPr sz="7058" spc="-98" baseline="0">
                <a:gradFill>
                  <a:gsLst>
                    <a:gs pos="75912">
                      <a:schemeClr val="tx1"/>
                    </a:gs>
                    <a:gs pos="34307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4594052"/>
            <a:ext cx="7171399" cy="1793881"/>
          </a:xfrm>
          <a:noFill/>
        </p:spPr>
        <p:txBody>
          <a:bodyPr lIns="182880" tIns="146304" rIns="182880" bIns="146304">
            <a:noAutofit/>
          </a:bodyPr>
          <a:lstStyle>
            <a:lvl1pPr marL="0" indent="0">
              <a:spcBef>
                <a:spcPts val="0"/>
              </a:spcBef>
              <a:buNone/>
              <a:defRPr sz="3529" spc="0" baseline="0">
                <a:gradFill>
                  <a:gsLst>
                    <a:gs pos="75912">
                      <a:schemeClr val="tx1"/>
                    </a:gs>
                    <a:gs pos="34307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7" name="TextBox 7"/>
          <p:cNvSpPr txBox="1"/>
          <p:nvPr userDrawn="1"/>
        </p:nvSpPr>
        <p:spPr bwMode="white">
          <a:xfrm>
            <a:off x="4244628" y="6566924"/>
            <a:ext cx="3702745" cy="15837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96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29" b="0" i="0" u="none" strike="noStrike" kern="1200" cap="none" spc="147" normalizeH="0" baseline="0" noProof="0" dirty="0">
                <a:ln>
                  <a:noFill/>
                </a:ln>
                <a:gradFill>
                  <a:gsLst>
                    <a:gs pos="0">
                      <a:srgbClr val="FFFFFF">
                        <a:alpha val="50000"/>
                      </a:srgbClr>
                    </a:gs>
                    <a:gs pos="86000">
                      <a:srgbClr val="FFFFFF">
                        <a:alpha val="5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Semibold" pitchFamily="34" charset="0"/>
                <a:ea typeface="+mn-ea"/>
                <a:cs typeface="+mn-cs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448553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23" y="2907733"/>
            <a:ext cx="12191377" cy="3582366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 bwMode="auto">
          <a:xfrm>
            <a:off x="269302" y="1187644"/>
            <a:ext cx="9860610" cy="2689632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1186356"/>
            <a:ext cx="8964247" cy="2697988"/>
          </a:xfrm>
          <a:noFill/>
        </p:spPr>
        <p:txBody>
          <a:bodyPr tIns="91440" bIns="91440" anchor="t" anchorCtr="0"/>
          <a:lstStyle>
            <a:lvl1pPr>
              <a:defRPr sz="7058" spc="-98" baseline="0">
                <a:gradFill>
                  <a:gsLst>
                    <a:gs pos="75912">
                      <a:schemeClr val="tx1"/>
                    </a:gs>
                    <a:gs pos="34307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Video title</a:t>
            </a:r>
          </a:p>
        </p:txBody>
      </p:sp>
      <p:sp>
        <p:nvSpPr>
          <p:cNvPr id="5" name="TextBox 7"/>
          <p:cNvSpPr txBox="1"/>
          <p:nvPr userDrawn="1"/>
        </p:nvSpPr>
        <p:spPr bwMode="white">
          <a:xfrm>
            <a:off x="4244628" y="6566924"/>
            <a:ext cx="3702745" cy="15837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96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29" b="0" i="0" u="none" strike="noStrike" kern="1200" cap="none" spc="147" normalizeH="0" baseline="0" noProof="0" dirty="0">
                <a:ln>
                  <a:noFill/>
                </a:ln>
                <a:gradFill>
                  <a:gsLst>
                    <a:gs pos="0">
                      <a:srgbClr val="FFFFFF">
                        <a:alpha val="50000"/>
                      </a:srgbClr>
                    </a:gs>
                    <a:gs pos="86000">
                      <a:srgbClr val="FFFFFF">
                        <a:alpha val="5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Semibold" pitchFamily="34" charset="0"/>
                <a:ea typeface="+mn-ea"/>
                <a:cs typeface="+mn-cs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34584480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796217"/>
          </a:xfrm>
          <a:noFill/>
        </p:spPr>
        <p:txBody>
          <a:bodyPr tIns="91440" bIns="91440" anchor="t" anchorCtr="0"/>
          <a:lstStyle>
            <a:lvl1pPr>
              <a:defRPr sz="8627" spc="-98" baseline="0">
                <a:gradFill>
                  <a:gsLst>
                    <a:gs pos="75912">
                      <a:schemeClr val="tx1"/>
                    </a:gs>
                    <a:gs pos="34307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Box 7"/>
          <p:cNvSpPr txBox="1"/>
          <p:nvPr userDrawn="1"/>
        </p:nvSpPr>
        <p:spPr bwMode="white">
          <a:xfrm>
            <a:off x="4244628" y="6566924"/>
            <a:ext cx="3702745" cy="15837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96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29" b="0" i="0" u="none" strike="noStrike" kern="1200" cap="none" spc="147" normalizeH="0" baseline="0" noProof="0" dirty="0">
                <a:ln>
                  <a:noFill/>
                </a:ln>
                <a:gradFill>
                  <a:gsLst>
                    <a:gs pos="0">
                      <a:srgbClr val="FFFFFF">
                        <a:alpha val="50000"/>
                      </a:srgbClr>
                    </a:gs>
                    <a:gs pos="86000">
                      <a:srgbClr val="FFFFFF">
                        <a:alpha val="5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Semibold" pitchFamily="34" charset="0"/>
                <a:ea typeface="+mn-ea"/>
                <a:cs typeface="+mn-cs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3325675261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796217"/>
          </a:xfrm>
          <a:noFill/>
        </p:spPr>
        <p:txBody>
          <a:bodyPr tIns="91440" bIns="91440" anchor="t" anchorCtr="0"/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8627" b="0" kern="1200" cap="none" spc="-98" baseline="0" dirty="0">
                <a:ln w="3175">
                  <a:noFill/>
                </a:ln>
                <a:gradFill>
                  <a:gsLst>
                    <a:gs pos="75912">
                      <a:schemeClr val="tx1"/>
                    </a:gs>
                    <a:gs pos="34307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Box 7"/>
          <p:cNvSpPr txBox="1"/>
          <p:nvPr userDrawn="1"/>
        </p:nvSpPr>
        <p:spPr bwMode="white">
          <a:xfrm>
            <a:off x="4244628" y="6566924"/>
            <a:ext cx="3702745" cy="15837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96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29" b="0" i="0" u="none" strike="noStrike" kern="1200" cap="none" spc="147" normalizeH="0" baseline="0" noProof="0" dirty="0">
                <a:ln>
                  <a:noFill/>
                </a:ln>
                <a:gradFill>
                  <a:gsLst>
                    <a:gs pos="0">
                      <a:srgbClr val="FFFFFF">
                        <a:alpha val="50000"/>
                      </a:srgbClr>
                    </a:gs>
                    <a:gs pos="86000">
                      <a:srgbClr val="FFFFFF">
                        <a:alpha val="5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Semibold" pitchFamily="34" charset="0"/>
                <a:ea typeface="+mn-ea"/>
                <a:cs typeface="+mn-cs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884477311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796217"/>
          </a:xfrm>
          <a:noFill/>
        </p:spPr>
        <p:txBody>
          <a:bodyPr tIns="91440" bIns="91440" anchor="t" anchorCtr="0"/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8627" b="0" kern="1200" cap="none" spc="-98" baseline="0" dirty="0">
                <a:ln w="3175">
                  <a:noFill/>
                </a:ln>
                <a:gradFill>
                  <a:gsLst>
                    <a:gs pos="83448">
                      <a:schemeClr val="tx1"/>
                    </a:gs>
                    <a:gs pos="53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Box 7"/>
          <p:cNvSpPr txBox="1"/>
          <p:nvPr userDrawn="1"/>
        </p:nvSpPr>
        <p:spPr bwMode="white">
          <a:xfrm>
            <a:off x="4244628" y="6566924"/>
            <a:ext cx="3702745" cy="15837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96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29" b="0" i="0" u="none" strike="noStrike" kern="1200" cap="none" spc="147" normalizeH="0" baseline="0" noProof="0" dirty="0">
                <a:ln>
                  <a:noFill/>
                </a:ln>
                <a:gradFill>
                  <a:gsLst>
                    <a:gs pos="0">
                      <a:srgbClr val="505050">
                        <a:alpha val="50000"/>
                      </a:srgbClr>
                    </a:gs>
                    <a:gs pos="86000">
                      <a:srgbClr val="505050">
                        <a:alpha val="5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Semibold" pitchFamily="34" charset="0"/>
                <a:ea typeface="+mn-ea"/>
                <a:cs typeface="+mn-cs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21315870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69240" y="1189176"/>
            <a:ext cx="11655840" cy="2018835"/>
          </a:xfrm>
        </p:spPr>
        <p:txBody>
          <a:bodyPr/>
          <a:lstStyle>
            <a:lvl1pPr marL="0" indent="0">
              <a:buNone/>
              <a:defRPr/>
            </a:lvl1pPr>
            <a:lvl2pPr marL="28012" indent="0">
              <a:buNone/>
              <a:defRPr sz="1961"/>
            </a:lvl2pPr>
            <a:lvl3pPr marL="219428" indent="0">
              <a:buNone/>
              <a:defRPr sz="1961"/>
            </a:lvl3pPr>
            <a:lvl4pPr marL="466868" indent="0">
              <a:buNone/>
              <a:defRPr sz="1765"/>
            </a:lvl4pPr>
            <a:lvl5pPr marL="725201" indent="0">
              <a:buNone/>
              <a:defRPr sz="1765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Box 7"/>
          <p:cNvSpPr txBox="1"/>
          <p:nvPr userDrawn="1"/>
        </p:nvSpPr>
        <p:spPr bwMode="white">
          <a:xfrm>
            <a:off x="4244628" y="6566924"/>
            <a:ext cx="3702745" cy="15837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96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29" b="0" i="0" u="none" strike="noStrike" kern="1200" cap="none" spc="147" normalizeH="0" baseline="0" noProof="0" dirty="0">
                <a:ln>
                  <a:noFill/>
                </a:ln>
                <a:gradFill>
                  <a:gsLst>
                    <a:gs pos="0">
                      <a:srgbClr val="FFFFFF">
                        <a:alpha val="50000"/>
                      </a:srgbClr>
                    </a:gs>
                    <a:gs pos="86000">
                      <a:srgbClr val="FFFFFF">
                        <a:alpha val="5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Semibold" pitchFamily="34" charset="0"/>
                <a:ea typeface="+mn-ea"/>
                <a:cs typeface="+mn-cs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1905390964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184808"/>
          </a:xfrm>
        </p:spPr>
        <p:txBody>
          <a:bodyPr>
            <a:spAutoFit/>
          </a:bodyPr>
          <a:lstStyle>
            <a:lvl3pPr>
              <a:defRPr sz="2353"/>
            </a:lvl3pPr>
            <a:lvl4pPr>
              <a:defRPr sz="1961"/>
            </a:lvl4pPr>
            <a:lvl5pPr>
              <a:defRPr sz="1961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Box 7"/>
          <p:cNvSpPr txBox="1"/>
          <p:nvPr userDrawn="1"/>
        </p:nvSpPr>
        <p:spPr bwMode="white">
          <a:xfrm>
            <a:off x="4244628" y="6566924"/>
            <a:ext cx="3702745" cy="15837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96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29" b="0" i="0" u="none" strike="noStrike" kern="1200" cap="none" spc="147" normalizeH="0" baseline="0" noProof="0" dirty="0">
                <a:ln>
                  <a:noFill/>
                </a:ln>
                <a:gradFill>
                  <a:gsLst>
                    <a:gs pos="0">
                      <a:srgbClr val="FFFFFF">
                        <a:alpha val="50000"/>
                      </a:srgbClr>
                    </a:gs>
                    <a:gs pos="86000">
                      <a:srgbClr val="FFFFFF">
                        <a:alpha val="5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Semibold" pitchFamily="34" charset="0"/>
                <a:ea typeface="+mn-ea"/>
                <a:cs typeface="+mn-cs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813773701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248978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9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48978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9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Box 7"/>
          <p:cNvSpPr txBox="1"/>
          <p:nvPr userDrawn="1"/>
        </p:nvSpPr>
        <p:spPr bwMode="white">
          <a:xfrm>
            <a:off x="4244628" y="6566924"/>
            <a:ext cx="3702745" cy="15837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96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29" b="0" i="0" u="none" strike="noStrike" kern="1200" cap="none" spc="147" normalizeH="0" baseline="0" noProof="0" dirty="0">
                <a:ln>
                  <a:noFill/>
                </a:ln>
                <a:gradFill>
                  <a:gsLst>
                    <a:gs pos="0">
                      <a:srgbClr val="FFFFFF">
                        <a:alpha val="50000"/>
                      </a:srgbClr>
                    </a:gs>
                    <a:gs pos="86000">
                      <a:srgbClr val="FFFFFF">
                        <a:alpha val="5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Semibold" pitchFamily="34" charset="0"/>
                <a:ea typeface="+mn-ea"/>
                <a:cs typeface="+mn-cs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1604362823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269302" y="1187644"/>
            <a:ext cx="9860610" cy="2689632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1186356"/>
            <a:ext cx="8964247" cy="2697988"/>
          </a:xfrm>
          <a:noFill/>
        </p:spPr>
        <p:txBody>
          <a:bodyPr tIns="91440" bIns="91440" anchor="t" anchorCtr="0"/>
          <a:lstStyle>
            <a:lvl1pPr>
              <a:defRPr sz="7058" spc="-98" baseline="0">
                <a:gradFill>
                  <a:gsLst>
                    <a:gs pos="75912">
                      <a:schemeClr val="tx1"/>
                    </a:gs>
                    <a:gs pos="34307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Video tit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217" y="3015596"/>
            <a:ext cx="12192434" cy="3227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4662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2556149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3529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556149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3529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Box 7"/>
          <p:cNvSpPr txBox="1"/>
          <p:nvPr userDrawn="1"/>
        </p:nvSpPr>
        <p:spPr bwMode="white">
          <a:xfrm>
            <a:off x="4244628" y="6566924"/>
            <a:ext cx="3702745" cy="15837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96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29" b="0" i="0" u="none" strike="noStrike" kern="1200" cap="none" spc="147" normalizeH="0" baseline="0" noProof="0" dirty="0">
                <a:ln>
                  <a:noFill/>
                </a:ln>
                <a:gradFill>
                  <a:gsLst>
                    <a:gs pos="0">
                      <a:srgbClr val="FFFFFF">
                        <a:alpha val="50000"/>
                      </a:srgbClr>
                    </a:gs>
                    <a:gs pos="86000">
                      <a:srgbClr val="FFFFFF">
                        <a:alpha val="5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Semibold" pitchFamily="34" charset="0"/>
                <a:ea typeface="+mn-ea"/>
                <a:cs typeface="+mn-cs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1210991150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Box 7"/>
          <p:cNvSpPr txBox="1"/>
          <p:nvPr userDrawn="1"/>
        </p:nvSpPr>
        <p:spPr bwMode="white">
          <a:xfrm>
            <a:off x="4244628" y="6566924"/>
            <a:ext cx="3702745" cy="15837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96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29" b="0" i="0" u="none" strike="noStrike" kern="1200" cap="none" spc="147" normalizeH="0" baseline="0" noProof="0" dirty="0">
                <a:ln>
                  <a:noFill/>
                </a:ln>
                <a:gradFill>
                  <a:gsLst>
                    <a:gs pos="0">
                      <a:srgbClr val="FFFFFF">
                        <a:alpha val="50000"/>
                      </a:srgbClr>
                    </a:gs>
                    <a:gs pos="86000">
                      <a:srgbClr val="FFFFFF">
                        <a:alpha val="5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Semibold" pitchFamily="34" charset="0"/>
                <a:ea typeface="+mn-ea"/>
                <a:cs typeface="+mn-cs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106565490"/>
      </p:ext>
    </p:extLst>
  </p:cSld>
  <p:clrMapOvr>
    <a:masterClrMapping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Idea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021" y="1187621"/>
            <a:ext cx="11655840" cy="899665"/>
          </a:xfrm>
        </p:spPr>
        <p:txBody>
          <a:bodyPr/>
          <a:lstStyle>
            <a:lvl1pPr>
              <a:defRPr sz="7058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Box 7"/>
          <p:cNvSpPr txBox="1"/>
          <p:nvPr userDrawn="1"/>
        </p:nvSpPr>
        <p:spPr bwMode="white">
          <a:xfrm>
            <a:off x="4244628" y="6566924"/>
            <a:ext cx="3702745" cy="15837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96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29" b="0" i="0" u="none" strike="noStrike" kern="1200" cap="none" spc="147" normalizeH="0" baseline="0" noProof="0" dirty="0">
                <a:ln>
                  <a:noFill/>
                </a:ln>
                <a:gradFill>
                  <a:gsLst>
                    <a:gs pos="0">
                      <a:srgbClr val="FFFFFF">
                        <a:alpha val="50000"/>
                      </a:srgbClr>
                    </a:gs>
                    <a:gs pos="86000">
                      <a:srgbClr val="FFFFFF">
                        <a:alpha val="5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Semibold" pitchFamily="34" charset="0"/>
                <a:ea typeface="+mn-ea"/>
                <a:cs typeface="+mn-cs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102036367"/>
      </p:ext>
    </p:extLst>
  </p:cSld>
  <p:clrMapOvr>
    <a:masterClrMapping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71684" y="2084173"/>
            <a:ext cx="8058229" cy="1793104"/>
          </a:xfrm>
        </p:spPr>
        <p:txBody>
          <a:bodyPr/>
          <a:lstStyle>
            <a:lvl1pPr>
              <a:defRPr sz="5882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Box 7"/>
          <p:cNvSpPr txBox="1"/>
          <p:nvPr userDrawn="1"/>
        </p:nvSpPr>
        <p:spPr bwMode="white">
          <a:xfrm>
            <a:off x="4244628" y="6566924"/>
            <a:ext cx="3702745" cy="15837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96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29" b="0" i="0" u="none" strike="noStrike" kern="1200" cap="none" spc="147" normalizeH="0" baseline="0" noProof="0" dirty="0">
                <a:ln>
                  <a:noFill/>
                </a:ln>
                <a:gradFill>
                  <a:gsLst>
                    <a:gs pos="0">
                      <a:srgbClr val="FFFFFF">
                        <a:alpha val="50000"/>
                      </a:srgbClr>
                    </a:gs>
                    <a:gs pos="86000">
                      <a:srgbClr val="FFFFFF">
                        <a:alpha val="5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Semibold" pitchFamily="34" charset="0"/>
                <a:ea typeface="+mn-ea"/>
                <a:cs typeface="+mn-cs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1899532852"/>
      </p:ext>
    </p:extLst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 Layout_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71684" y="2084173"/>
            <a:ext cx="8058229" cy="1793104"/>
          </a:xfrm>
        </p:spPr>
        <p:txBody>
          <a:bodyPr/>
          <a:lstStyle>
            <a:lvl1pPr>
              <a:defRPr sz="5882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Box 7"/>
          <p:cNvSpPr txBox="1"/>
          <p:nvPr userDrawn="1"/>
        </p:nvSpPr>
        <p:spPr bwMode="white">
          <a:xfrm>
            <a:off x="4244628" y="6566924"/>
            <a:ext cx="3702745" cy="15837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96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29" b="0" i="0" u="none" strike="noStrike" kern="1200" cap="none" spc="147" normalizeH="0" baseline="0" noProof="0" dirty="0">
                <a:ln>
                  <a:noFill/>
                </a:ln>
                <a:gradFill>
                  <a:gsLst>
                    <a:gs pos="0">
                      <a:srgbClr val="FFFFFF">
                        <a:alpha val="50000"/>
                      </a:srgbClr>
                    </a:gs>
                    <a:gs pos="86000">
                      <a:srgbClr val="FFFFFF">
                        <a:alpha val="5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Semibold" pitchFamily="34" charset="0"/>
                <a:ea typeface="+mn-ea"/>
                <a:cs typeface="+mn-cs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3918505022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1165664" y="1178349"/>
            <a:ext cx="9860672" cy="899665"/>
          </a:xfrm>
        </p:spPr>
        <p:txBody>
          <a:bodyPr/>
          <a:lstStyle>
            <a:lvl1pPr marL="228766" indent="-228766">
              <a:defRPr sz="5882" baseline="0"/>
            </a:lvl1pPr>
          </a:lstStyle>
          <a:p>
            <a:r>
              <a:rPr lang="en-US" dirty="0"/>
              <a:t>“Sample quote goes here. Design is easier than it looks, and more important than it seems.”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647788" y="5025984"/>
            <a:ext cx="5378549" cy="1050156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137" baseline="0">
                <a:latin typeface="+mj-lt"/>
              </a:defRPr>
            </a:lvl1pPr>
          </a:lstStyle>
          <a:p>
            <a:pPr lvl="0"/>
            <a:r>
              <a:rPr lang="en-US" dirty="0"/>
              <a:t>Author Name</a:t>
            </a:r>
          </a:p>
          <a:p>
            <a:pPr lvl="0"/>
            <a:r>
              <a:rPr lang="en-US" dirty="0"/>
              <a:t>Title</a:t>
            </a:r>
          </a:p>
        </p:txBody>
      </p:sp>
      <p:sp>
        <p:nvSpPr>
          <p:cNvPr id="5" name="TextBox 7"/>
          <p:cNvSpPr txBox="1"/>
          <p:nvPr userDrawn="1"/>
        </p:nvSpPr>
        <p:spPr bwMode="white">
          <a:xfrm>
            <a:off x="4244628" y="6566924"/>
            <a:ext cx="3702745" cy="15837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96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29" b="0" i="0" u="none" strike="noStrike" kern="1200" cap="none" spc="147" normalizeH="0" baseline="0" noProof="0" dirty="0">
                <a:ln>
                  <a:noFill/>
                </a:ln>
                <a:gradFill>
                  <a:gsLst>
                    <a:gs pos="0">
                      <a:srgbClr val="FFFFFF">
                        <a:alpha val="50000"/>
                      </a:srgbClr>
                    </a:gs>
                    <a:gs pos="86000">
                      <a:srgbClr val="FFFFFF">
                        <a:alpha val="5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Semibold" pitchFamily="34" charset="0"/>
                <a:ea typeface="+mn-ea"/>
                <a:cs typeface="+mn-cs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270393631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ayout_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1165664" y="2084173"/>
            <a:ext cx="9860672" cy="899665"/>
          </a:xfrm>
        </p:spPr>
        <p:txBody>
          <a:bodyPr/>
          <a:lstStyle>
            <a:lvl1pPr marL="277008" indent="-277008">
              <a:tabLst>
                <a:tab pos="277008" algn="l"/>
              </a:tabLst>
              <a:defRPr sz="5882" baseline="0"/>
            </a:lvl1pPr>
          </a:lstStyle>
          <a:p>
            <a:r>
              <a:rPr lang="en-US" dirty="0"/>
              <a:t>“	Add a quote here. Design is easier than it looks, and more important than it seems.”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647788" y="4773813"/>
            <a:ext cx="5378549" cy="1050156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137" baseline="0">
                <a:latin typeface="+mj-lt"/>
              </a:defRPr>
            </a:lvl1pPr>
          </a:lstStyle>
          <a:p>
            <a:pPr lvl="0"/>
            <a:r>
              <a:rPr lang="en-US" dirty="0"/>
              <a:t>Author’s Name</a:t>
            </a:r>
          </a:p>
          <a:p>
            <a:pPr lvl="0"/>
            <a:r>
              <a:rPr lang="en-US" dirty="0"/>
              <a:t>Title</a:t>
            </a:r>
          </a:p>
        </p:txBody>
      </p:sp>
      <p:sp>
        <p:nvSpPr>
          <p:cNvPr id="5" name="TextBox 7"/>
          <p:cNvSpPr txBox="1"/>
          <p:nvPr userDrawn="1"/>
        </p:nvSpPr>
        <p:spPr bwMode="white">
          <a:xfrm>
            <a:off x="4244628" y="6566924"/>
            <a:ext cx="3702745" cy="15837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96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29" b="0" i="0" u="none" strike="noStrike" kern="1200" cap="none" spc="147" normalizeH="0" baseline="0" noProof="0" dirty="0">
                <a:ln>
                  <a:noFill/>
                </a:ln>
                <a:gradFill>
                  <a:gsLst>
                    <a:gs pos="0">
                      <a:srgbClr val="FFFFFF">
                        <a:alpha val="50000"/>
                      </a:srgbClr>
                    </a:gs>
                    <a:gs pos="86000">
                      <a:srgbClr val="FFFFFF">
                        <a:alpha val="5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Semibold" pitchFamily="34" charset="0"/>
                <a:ea typeface="+mn-ea"/>
                <a:cs typeface="+mn-cs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2077977359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Idea &amp; 3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7021" y="2383023"/>
            <a:ext cx="11653523" cy="914360"/>
          </a:xfrm>
        </p:spPr>
        <p:txBody>
          <a:bodyPr/>
          <a:lstStyle>
            <a:lvl1pPr marL="0" indent="0">
              <a:buNone/>
              <a:defRPr sz="5294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277021" y="1187621"/>
            <a:ext cx="11655840" cy="899665"/>
          </a:xfrm>
        </p:spPr>
        <p:txBody>
          <a:bodyPr/>
          <a:lstStyle>
            <a:lvl1pPr>
              <a:defRPr sz="7058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Box 7"/>
          <p:cNvSpPr txBox="1"/>
          <p:nvPr userDrawn="1"/>
        </p:nvSpPr>
        <p:spPr bwMode="white">
          <a:xfrm>
            <a:off x="4244628" y="6566924"/>
            <a:ext cx="3702745" cy="15837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96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29" b="0" i="0" u="none" strike="noStrike" kern="1200" cap="none" spc="147" normalizeH="0" baseline="0" noProof="0" dirty="0">
                <a:ln>
                  <a:noFill/>
                </a:ln>
                <a:gradFill>
                  <a:gsLst>
                    <a:gs pos="0">
                      <a:srgbClr val="FFFFFF">
                        <a:alpha val="50000"/>
                      </a:srgbClr>
                    </a:gs>
                    <a:gs pos="86000">
                      <a:srgbClr val="FFFFFF">
                        <a:alpha val="5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Semibold" pitchFamily="34" charset="0"/>
                <a:ea typeface="+mn-ea"/>
                <a:cs typeface="+mn-cs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3304571455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-50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1217195"/>
            <a:ext cx="5378548" cy="1763530"/>
          </a:xfrm>
        </p:spPr>
        <p:txBody>
          <a:bodyPr/>
          <a:lstStyle>
            <a:lvl1pPr>
              <a:defRPr sz="647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50/50 Photo Layout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ltGray">
          <a:xfrm>
            <a:off x="6097556" y="0"/>
            <a:ext cx="6094444" cy="6856100"/>
          </a:xfr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8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6003540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-50 Lef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44214" y="1217195"/>
            <a:ext cx="5378548" cy="899665"/>
          </a:xfrm>
        </p:spPr>
        <p:txBody>
          <a:bodyPr/>
          <a:lstStyle>
            <a:lvl1pPr>
              <a:defRPr sz="647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Picture Placeholder 4"/>
          <p:cNvSpPr>
            <a:spLocks noGrp="1"/>
          </p:cNvSpPr>
          <p:nvPr>
            <p:ph type="pic" sz="quarter" idx="10"/>
          </p:nvPr>
        </p:nvSpPr>
        <p:spPr bwMode="ltGray">
          <a:xfrm>
            <a:off x="0" y="0"/>
            <a:ext cx="6094444" cy="6852151"/>
          </a:xfr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372" b="1">
                <a:gradFill>
                  <a:gsLst>
                    <a:gs pos="13139">
                      <a:srgbClr val="FFFFFF"/>
                    </a:gs>
                    <a:gs pos="38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5193619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796217"/>
          </a:xfrm>
          <a:noFill/>
        </p:spPr>
        <p:txBody>
          <a:bodyPr tIns="91440" bIns="91440" anchor="t" anchorCtr="0"/>
          <a:lstStyle>
            <a:lvl1pPr>
              <a:defRPr sz="8627" spc="-98" baseline="0">
                <a:gradFill>
                  <a:gsLst>
                    <a:gs pos="75912">
                      <a:schemeClr val="tx1"/>
                    </a:gs>
                    <a:gs pos="34307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52116229"/>
      </p:ext>
    </p:extLst>
  </p:cSld>
  <p:clrMapOvr>
    <a:masterClrMapping/>
  </p:clrMapOvr>
  <p:transition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7"/>
          <p:cNvSpPr txBox="1"/>
          <p:nvPr userDrawn="1"/>
        </p:nvSpPr>
        <p:spPr bwMode="white">
          <a:xfrm>
            <a:off x="4244628" y="6566924"/>
            <a:ext cx="3702745" cy="15837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96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29" b="0" i="0" u="none" strike="noStrike" kern="1200" cap="none" spc="147" normalizeH="0" baseline="0" noProof="0" dirty="0">
                <a:ln>
                  <a:noFill/>
                </a:ln>
                <a:gradFill>
                  <a:gsLst>
                    <a:gs pos="0">
                      <a:srgbClr val="FFFFFF">
                        <a:alpha val="50000"/>
                      </a:srgbClr>
                    </a:gs>
                    <a:gs pos="86000">
                      <a:srgbClr val="FFFFFF">
                        <a:alpha val="5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Semibold" pitchFamily="34" charset="0"/>
                <a:ea typeface="+mn-ea"/>
                <a:cs typeface="+mn-cs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2321152644"/>
      </p:ext>
    </p:extLst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7"/>
          <p:cNvSpPr txBox="1"/>
          <p:nvPr userDrawn="1"/>
        </p:nvSpPr>
        <p:spPr bwMode="white">
          <a:xfrm>
            <a:off x="4244628" y="6566924"/>
            <a:ext cx="3702745" cy="15837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96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29" b="0" i="0" u="none" strike="noStrike" kern="1200" cap="none" spc="147" normalizeH="0" baseline="0" noProof="0" dirty="0">
                <a:ln>
                  <a:noFill/>
                </a:ln>
                <a:gradFill>
                  <a:gsLst>
                    <a:gs pos="0">
                      <a:srgbClr val="FFFFFF">
                        <a:alpha val="50000"/>
                      </a:srgbClr>
                    </a:gs>
                    <a:gs pos="86000">
                      <a:srgbClr val="FFFFFF">
                        <a:alpha val="5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Semibold" pitchFamily="34" charset="0"/>
                <a:ea typeface="+mn-ea"/>
                <a:cs typeface="+mn-cs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3340578162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7"/>
          <p:cNvSpPr txBox="1"/>
          <p:nvPr userDrawn="1"/>
        </p:nvSpPr>
        <p:spPr bwMode="white">
          <a:xfrm>
            <a:off x="4244628" y="6566924"/>
            <a:ext cx="3702745" cy="15837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96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29" b="0" i="0" u="none" strike="noStrike" kern="1200" cap="none" spc="147" normalizeH="0" baseline="0" noProof="0" dirty="0">
                <a:ln>
                  <a:noFill/>
                </a:ln>
                <a:gradFill>
                  <a:gsLst>
                    <a:gs pos="0">
                      <a:srgbClr val="FFFFFF">
                        <a:alpha val="50000"/>
                      </a:srgbClr>
                    </a:gs>
                    <a:gs pos="86000">
                      <a:srgbClr val="FFFFFF">
                        <a:alpha val="5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Semibold" pitchFamily="34" charset="0"/>
                <a:ea typeface="+mn-ea"/>
                <a:cs typeface="+mn-cs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1390016713"/>
      </p:ext>
    </p:extLst>
  </p:cSld>
  <p:clrMapOvr>
    <a:masterClrMapping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2396047"/>
          </a:xfrm>
          <a:prstGeom prst="rect">
            <a:avLst/>
          </a:prstGeom>
        </p:spPr>
        <p:txBody>
          <a:bodyPr/>
          <a:lstStyle>
            <a:lvl1pPr marL="284790" indent="-284790">
              <a:buClr>
                <a:schemeClr val="tx1"/>
              </a:buClr>
              <a:buSzPct val="90000"/>
              <a:buFont typeface="Wingdings" panose="05000000000000000000" pitchFamily="2" charset="2"/>
              <a:buChar char="§"/>
              <a:defRPr sz="352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241" indent="-275453">
              <a:buClr>
                <a:schemeClr val="tx1"/>
              </a:buClr>
              <a:buSzPct val="90000"/>
              <a:buFont typeface="Wingdings" panose="05000000000000000000" pitchFamily="2" charset="2"/>
              <a:buChar char="§"/>
              <a:defRPr sz="313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5031" indent="-284790">
              <a:buClr>
                <a:schemeClr val="tx1"/>
              </a:buClr>
              <a:buSzPct val="90000"/>
              <a:buFont typeface="Wingdings" panose="05000000000000000000" pitchFamily="2" charset="2"/>
              <a:buChar char="§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9128" indent="-224097">
              <a:buClr>
                <a:schemeClr val="tx1"/>
              </a:buClr>
              <a:buSzPct val="90000"/>
              <a:buFont typeface="Wingdings" panose="05000000000000000000" pitchFamily="2" charset="2"/>
              <a:buChar char="§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225" indent="-224097">
              <a:buClr>
                <a:schemeClr val="tx1"/>
              </a:buClr>
              <a:buSzPct val="90000"/>
              <a:buFont typeface="Wingdings" panose="05000000000000000000" pitchFamily="2" charset="2"/>
              <a:buChar char="§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rgbClr val="FFFC9E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7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47728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7"/>
            <a:ext cx="11653523" cy="2187971"/>
          </a:xfrm>
        </p:spPr>
        <p:txBody>
          <a:bodyPr>
            <a:spAutoFit/>
          </a:bodyPr>
          <a:lstStyle>
            <a:lvl1pPr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Box 7"/>
          <p:cNvSpPr txBox="1"/>
          <p:nvPr userDrawn="1"/>
        </p:nvSpPr>
        <p:spPr bwMode="white">
          <a:xfrm>
            <a:off x="4245432" y="6567087"/>
            <a:ext cx="3701141" cy="15805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96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27" b="0" i="0" u="none" strike="noStrike" kern="1200" cap="none" spc="147" normalizeH="0" baseline="0" noProof="0" dirty="0">
                <a:ln>
                  <a:noFill/>
                </a:ln>
                <a:gradFill>
                  <a:gsLst>
                    <a:gs pos="0">
                      <a:srgbClr val="FFFFFF">
                        <a:alpha val="50000"/>
                      </a:srgbClr>
                    </a:gs>
                    <a:gs pos="86000">
                      <a:srgbClr val="FFFFFF">
                        <a:alpha val="5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Segoe Semibold" pitchFamily="34" charset="0"/>
                <a:ea typeface="+mn-ea"/>
                <a:cs typeface="+mn-cs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2753722022"/>
      </p:ext>
    </p:extLst>
  </p:cSld>
  <p:clrMapOvr>
    <a:masterClrMapping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2 Ligh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8928" y="291104"/>
            <a:ext cx="11653834" cy="1793071"/>
          </a:xfrm>
        </p:spPr>
        <p:txBody>
          <a:bodyPr/>
          <a:lstStyle>
            <a:lvl1pPr>
              <a:defRPr sz="5685">
                <a:gradFill>
                  <a:gsLst>
                    <a:gs pos="56637">
                      <a:schemeClr val="tx1"/>
                    </a:gs>
                    <a:gs pos="33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69240" y="2546470"/>
            <a:ext cx="7171399" cy="510524"/>
          </a:xfrm>
        </p:spPr>
        <p:txBody>
          <a:bodyPr/>
          <a:lstStyle>
            <a:lvl1pPr marL="0" indent="0">
              <a:buNone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sz="2353"/>
            </a:lvl2pPr>
            <a:lvl3pPr>
              <a:defRPr sz="2353"/>
            </a:lvl3pPr>
            <a:lvl4pPr>
              <a:defRPr sz="2353"/>
            </a:lvl4pPr>
            <a:lvl5pPr>
              <a:defRPr sz="2353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230118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Content w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9250" y="228602"/>
            <a:ext cx="11151917" cy="747897"/>
          </a:xfrm>
        </p:spPr>
        <p:txBody>
          <a:bodyPr/>
          <a:lstStyle>
            <a:lvl1pPr>
              <a:defRPr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19250" y="1447799"/>
            <a:ext cx="11151917" cy="2195686"/>
          </a:xfrm>
          <a:prstGeom prst="rect">
            <a:avLst/>
          </a:prstGeom>
        </p:spPr>
        <p:txBody>
          <a:bodyPr/>
          <a:lstStyle>
            <a:lvl1pPr marL="283693" indent="-283693">
              <a:buFont typeface="Wingdings" pitchFamily="2" charset="2"/>
              <a:buChar char=""/>
              <a:defRPr sz="4000"/>
            </a:lvl1pPr>
            <a:lvl2pPr marL="516668" indent="-232976">
              <a:buFont typeface="Wingdings" pitchFamily="2" charset="2"/>
              <a:buChar char=""/>
              <a:defRPr>
                <a:latin typeface="+mn-lt"/>
              </a:defRPr>
            </a:lvl2pPr>
            <a:lvl3pPr marL="740132" indent="-223467">
              <a:buFont typeface="Wingdings" pitchFamily="2" charset="2"/>
              <a:buChar char=""/>
              <a:tabLst/>
              <a:defRPr>
                <a:latin typeface="+mn-lt"/>
              </a:defRPr>
            </a:lvl3pPr>
            <a:lvl4pPr marL="912883" indent="-172750">
              <a:buFont typeface="Wingdings" pitchFamily="2" charset="2"/>
              <a:buChar char=""/>
              <a:defRPr>
                <a:latin typeface="+mn-lt"/>
              </a:defRPr>
            </a:lvl4pPr>
            <a:lvl5pPr marL="1085634" indent="-172750">
              <a:buFont typeface="Wingdings" pitchFamily="2" charset="2"/>
              <a:buChar char=""/>
              <a:tabLst/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9"/>
          <p:cNvSpPr>
            <a:spLocks noGrp="1"/>
          </p:cNvSpPr>
          <p:nvPr>
            <p:ph type="sldNum" sz="quarter" idx="12"/>
          </p:nvPr>
        </p:nvSpPr>
        <p:spPr>
          <a:xfrm>
            <a:off x="520836" y="6399557"/>
            <a:ext cx="560832" cy="219456"/>
          </a:xfrm>
          <a:prstGeom prst="rect">
            <a:avLst/>
          </a:prstGeom>
        </p:spPr>
        <p:txBody>
          <a:bodyPr lIns="121720" tIns="60860" rIns="121720" bIns="60860" anchor="ctr"/>
          <a:lstStyle>
            <a:lvl1pPr algn="l">
              <a:defRPr sz="1600">
                <a:gradFill>
                  <a:gsLst>
                    <a:gs pos="100000">
                      <a:schemeClr val="bg2"/>
                    </a:gs>
                    <a:gs pos="0">
                      <a:schemeClr val="bg2"/>
                    </a:gs>
                  </a:gsLst>
                  <a:lin ang="5400000" scaled="0"/>
                </a:gradFill>
              </a:defRPr>
            </a:lvl1pPr>
          </a:lstStyle>
          <a:p>
            <a:pPr defTabSz="912847"/>
            <a:fld id="{727B4C2D-45E2-4621-8491-2995EB46A674}" type="slidenum">
              <a:rPr lang="en-US" smtClean="0">
                <a:gradFill>
                  <a:gsLst>
                    <a:gs pos="100000">
                      <a:srgbClr val="797A7D"/>
                    </a:gs>
                    <a:gs pos="0">
                      <a:srgbClr val="797A7D"/>
                    </a:gs>
                  </a:gsLst>
                  <a:lin ang="5400000" scaled="0"/>
                </a:gradFill>
              </a:rPr>
              <a:pPr defTabSz="912847"/>
              <a:t>‹#›</a:t>
            </a:fld>
            <a:endParaRPr lang="en-US" dirty="0">
              <a:gradFill>
                <a:gsLst>
                  <a:gs pos="100000">
                    <a:srgbClr val="797A7D"/>
                  </a:gs>
                  <a:gs pos="0">
                    <a:srgbClr val="797A7D"/>
                  </a:gs>
                </a:gsLst>
                <a:lin ang="5400000" scaled="0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2876012442"/>
      </p:ext>
    </p:extLst>
  </p:cSld>
  <p:clrMapOvr>
    <a:masterClrMapping/>
  </p:clrMapOvr>
  <p:transition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359016" y="3877271"/>
            <a:ext cx="8367343" cy="1794661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66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59016" y="2075840"/>
            <a:ext cx="9562678" cy="1801436"/>
          </a:xfrm>
          <a:noFill/>
        </p:spPr>
        <p:txBody>
          <a:bodyPr lIns="146304" tIns="91440" rIns="146304" bIns="91440" anchor="t" anchorCtr="0"/>
          <a:lstStyle>
            <a:lvl1pPr>
              <a:defRPr sz="6275" spc="-98" baseline="0">
                <a:gradFill>
                  <a:gsLst>
                    <a:gs pos="74747">
                      <a:schemeClr val="tx1"/>
                    </a:gs>
                    <a:gs pos="56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597669" y="6118623"/>
            <a:ext cx="1674031" cy="268966"/>
          </a:xfrm>
          <a:prstGeom prst="rect">
            <a:avLst/>
          </a:prstGeom>
        </p:spPr>
      </p:pic>
      <p:grpSp>
        <p:nvGrpSpPr>
          <p:cNvPr id="18" name="Group 17"/>
          <p:cNvGrpSpPr/>
          <p:nvPr userDrawn="1"/>
        </p:nvGrpSpPr>
        <p:grpSpPr>
          <a:xfrm>
            <a:off x="6276525" y="2173847"/>
            <a:ext cx="5582944" cy="3317199"/>
            <a:chOff x="6362728" y="1485604"/>
            <a:chExt cx="5396739" cy="4275173"/>
          </a:xfrm>
        </p:grpSpPr>
        <p:sp>
          <p:nvSpPr>
            <p:cNvPr id="19" name="Freeform 18"/>
            <p:cNvSpPr>
              <a:spLocks/>
            </p:cNvSpPr>
            <p:nvPr userDrawn="1"/>
          </p:nvSpPr>
          <p:spPr bwMode="auto">
            <a:xfrm>
              <a:off x="10286428" y="2540869"/>
              <a:ext cx="1228270" cy="499194"/>
            </a:xfrm>
            <a:custGeom>
              <a:avLst/>
              <a:gdLst>
                <a:gd name="T0" fmla="*/ 621 w 696"/>
                <a:gd name="T1" fmla="*/ 132 h 281"/>
                <a:gd name="T2" fmla="*/ 609 w 696"/>
                <a:gd name="T3" fmla="*/ 133 h 281"/>
                <a:gd name="T4" fmla="*/ 469 w 696"/>
                <a:gd name="T5" fmla="*/ 0 h 281"/>
                <a:gd name="T6" fmla="*/ 333 w 696"/>
                <a:gd name="T7" fmla="*/ 104 h 281"/>
                <a:gd name="T8" fmla="*/ 258 w 696"/>
                <a:gd name="T9" fmla="*/ 73 h 281"/>
                <a:gd name="T10" fmla="*/ 155 w 696"/>
                <a:gd name="T11" fmla="*/ 167 h 281"/>
                <a:gd name="T12" fmla="*/ 105 w 696"/>
                <a:gd name="T13" fmla="*/ 190 h 281"/>
                <a:gd name="T14" fmla="*/ 58 w 696"/>
                <a:gd name="T15" fmla="*/ 166 h 281"/>
                <a:gd name="T16" fmla="*/ 0 w 696"/>
                <a:gd name="T17" fmla="*/ 224 h 281"/>
                <a:gd name="T18" fmla="*/ 58 w 696"/>
                <a:gd name="T19" fmla="*/ 281 h 281"/>
                <a:gd name="T20" fmla="*/ 74 w 696"/>
                <a:gd name="T21" fmla="*/ 281 h 281"/>
                <a:gd name="T22" fmla="*/ 264 w 696"/>
                <a:gd name="T23" fmla="*/ 281 h 281"/>
                <a:gd name="T24" fmla="*/ 370 w 696"/>
                <a:gd name="T25" fmla="*/ 281 h 281"/>
                <a:gd name="T26" fmla="*/ 626 w 696"/>
                <a:gd name="T27" fmla="*/ 281 h 281"/>
                <a:gd name="T28" fmla="*/ 626 w 696"/>
                <a:gd name="T29" fmla="*/ 281 h 281"/>
                <a:gd name="T30" fmla="*/ 696 w 696"/>
                <a:gd name="T31" fmla="*/ 207 h 281"/>
                <a:gd name="T32" fmla="*/ 621 w 696"/>
                <a:gd name="T33" fmla="*/ 132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96" h="281">
                  <a:moveTo>
                    <a:pt x="621" y="132"/>
                  </a:moveTo>
                  <a:cubicBezTo>
                    <a:pt x="617" y="132"/>
                    <a:pt x="613" y="133"/>
                    <a:pt x="609" y="133"/>
                  </a:cubicBezTo>
                  <a:cubicBezTo>
                    <a:pt x="606" y="59"/>
                    <a:pt x="544" y="0"/>
                    <a:pt x="469" y="0"/>
                  </a:cubicBezTo>
                  <a:cubicBezTo>
                    <a:pt x="403" y="0"/>
                    <a:pt x="349" y="44"/>
                    <a:pt x="333" y="104"/>
                  </a:cubicBezTo>
                  <a:cubicBezTo>
                    <a:pt x="314" y="85"/>
                    <a:pt x="287" y="73"/>
                    <a:pt x="258" y="73"/>
                  </a:cubicBezTo>
                  <a:cubicBezTo>
                    <a:pt x="204" y="73"/>
                    <a:pt x="160" y="114"/>
                    <a:pt x="155" y="167"/>
                  </a:cubicBezTo>
                  <a:cubicBezTo>
                    <a:pt x="136" y="170"/>
                    <a:pt x="119" y="178"/>
                    <a:pt x="105" y="190"/>
                  </a:cubicBezTo>
                  <a:cubicBezTo>
                    <a:pt x="95" y="175"/>
                    <a:pt x="78" y="166"/>
                    <a:pt x="58" y="166"/>
                  </a:cubicBezTo>
                  <a:cubicBezTo>
                    <a:pt x="26" y="166"/>
                    <a:pt x="0" y="192"/>
                    <a:pt x="0" y="224"/>
                  </a:cubicBezTo>
                  <a:cubicBezTo>
                    <a:pt x="0" y="256"/>
                    <a:pt x="26" y="281"/>
                    <a:pt x="58" y="281"/>
                  </a:cubicBezTo>
                  <a:cubicBezTo>
                    <a:pt x="74" y="281"/>
                    <a:pt x="74" y="281"/>
                    <a:pt x="74" y="281"/>
                  </a:cubicBezTo>
                  <a:cubicBezTo>
                    <a:pt x="264" y="281"/>
                    <a:pt x="264" y="281"/>
                    <a:pt x="264" y="281"/>
                  </a:cubicBezTo>
                  <a:cubicBezTo>
                    <a:pt x="370" y="281"/>
                    <a:pt x="370" y="281"/>
                    <a:pt x="370" y="281"/>
                  </a:cubicBezTo>
                  <a:cubicBezTo>
                    <a:pt x="626" y="281"/>
                    <a:pt x="626" y="281"/>
                    <a:pt x="626" y="281"/>
                  </a:cubicBezTo>
                  <a:cubicBezTo>
                    <a:pt x="626" y="281"/>
                    <a:pt x="626" y="281"/>
                    <a:pt x="626" y="281"/>
                  </a:cubicBezTo>
                  <a:cubicBezTo>
                    <a:pt x="665" y="279"/>
                    <a:pt x="696" y="247"/>
                    <a:pt x="696" y="207"/>
                  </a:cubicBezTo>
                  <a:cubicBezTo>
                    <a:pt x="696" y="166"/>
                    <a:pt x="662" y="132"/>
                    <a:pt x="621" y="13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5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grpSp>
          <p:nvGrpSpPr>
            <p:cNvPr id="20" name="Group 19"/>
            <p:cNvGrpSpPr/>
            <p:nvPr userDrawn="1"/>
          </p:nvGrpSpPr>
          <p:grpSpPr bwMode="auto">
            <a:xfrm>
              <a:off x="6362728" y="3629515"/>
              <a:ext cx="5396739" cy="2131262"/>
              <a:chOff x="8040688" y="7151688"/>
              <a:chExt cx="6745287" cy="2663825"/>
            </a:xfrm>
          </p:grpSpPr>
          <p:sp>
            <p:nvSpPr>
              <p:cNvPr id="23" name="Freeform 5"/>
              <p:cNvSpPr>
                <a:spLocks noEditPoints="1"/>
              </p:cNvSpPr>
              <p:nvPr userDrawn="1"/>
            </p:nvSpPr>
            <p:spPr bwMode="auto">
              <a:xfrm>
                <a:off x="10498138" y="7808913"/>
                <a:ext cx="776287" cy="774700"/>
              </a:xfrm>
              <a:custGeom>
                <a:avLst/>
                <a:gdLst>
                  <a:gd name="T0" fmla="*/ 50 w 221"/>
                  <a:gd name="T1" fmla="*/ 202 h 220"/>
                  <a:gd name="T2" fmla="*/ 73 w 221"/>
                  <a:gd name="T3" fmla="*/ 186 h 220"/>
                  <a:gd name="T4" fmla="*/ 86 w 221"/>
                  <a:gd name="T5" fmla="*/ 183 h 220"/>
                  <a:gd name="T6" fmla="*/ 95 w 221"/>
                  <a:gd name="T7" fmla="*/ 185 h 220"/>
                  <a:gd name="T8" fmla="*/ 109 w 221"/>
                  <a:gd name="T9" fmla="*/ 214 h 220"/>
                  <a:gd name="T10" fmla="*/ 133 w 221"/>
                  <a:gd name="T11" fmla="*/ 218 h 220"/>
                  <a:gd name="T12" fmla="*/ 138 w 221"/>
                  <a:gd name="T13" fmla="*/ 191 h 220"/>
                  <a:gd name="T14" fmla="*/ 145 w 221"/>
                  <a:gd name="T15" fmla="*/ 179 h 220"/>
                  <a:gd name="T16" fmla="*/ 153 w 221"/>
                  <a:gd name="T17" fmla="*/ 174 h 220"/>
                  <a:gd name="T18" fmla="*/ 183 w 221"/>
                  <a:gd name="T19" fmla="*/ 184 h 220"/>
                  <a:gd name="T20" fmla="*/ 202 w 221"/>
                  <a:gd name="T21" fmla="*/ 170 h 220"/>
                  <a:gd name="T22" fmla="*/ 187 w 221"/>
                  <a:gd name="T23" fmla="*/ 148 h 220"/>
                  <a:gd name="T24" fmla="*/ 183 w 221"/>
                  <a:gd name="T25" fmla="*/ 134 h 220"/>
                  <a:gd name="T26" fmla="*/ 186 w 221"/>
                  <a:gd name="T27" fmla="*/ 125 h 220"/>
                  <a:gd name="T28" fmla="*/ 215 w 221"/>
                  <a:gd name="T29" fmla="*/ 111 h 220"/>
                  <a:gd name="T30" fmla="*/ 218 w 221"/>
                  <a:gd name="T31" fmla="*/ 88 h 220"/>
                  <a:gd name="T32" fmla="*/ 191 w 221"/>
                  <a:gd name="T33" fmla="*/ 83 h 220"/>
                  <a:gd name="T34" fmla="*/ 179 w 221"/>
                  <a:gd name="T35" fmla="*/ 76 h 220"/>
                  <a:gd name="T36" fmla="*/ 175 w 221"/>
                  <a:gd name="T37" fmla="*/ 67 h 220"/>
                  <a:gd name="T38" fmla="*/ 185 w 221"/>
                  <a:gd name="T39" fmla="*/ 37 h 220"/>
                  <a:gd name="T40" fmla="*/ 171 w 221"/>
                  <a:gd name="T41" fmla="*/ 18 h 220"/>
                  <a:gd name="T42" fmla="*/ 148 w 221"/>
                  <a:gd name="T43" fmla="*/ 34 h 220"/>
                  <a:gd name="T44" fmla="*/ 135 w 221"/>
                  <a:gd name="T45" fmla="*/ 37 h 220"/>
                  <a:gd name="T46" fmla="*/ 126 w 221"/>
                  <a:gd name="T47" fmla="*/ 34 h 220"/>
                  <a:gd name="T48" fmla="*/ 112 w 221"/>
                  <a:gd name="T49" fmla="*/ 6 h 220"/>
                  <a:gd name="T50" fmla="*/ 88 w 221"/>
                  <a:gd name="T51" fmla="*/ 2 h 220"/>
                  <a:gd name="T52" fmla="*/ 83 w 221"/>
                  <a:gd name="T53" fmla="*/ 29 h 220"/>
                  <a:gd name="T54" fmla="*/ 68 w 221"/>
                  <a:gd name="T55" fmla="*/ 46 h 220"/>
                  <a:gd name="T56" fmla="*/ 38 w 221"/>
                  <a:gd name="T57" fmla="*/ 35 h 220"/>
                  <a:gd name="T58" fmla="*/ 19 w 221"/>
                  <a:gd name="T59" fmla="*/ 49 h 220"/>
                  <a:gd name="T60" fmla="*/ 34 w 221"/>
                  <a:gd name="T61" fmla="*/ 72 h 220"/>
                  <a:gd name="T62" fmla="*/ 35 w 221"/>
                  <a:gd name="T63" fmla="*/ 96 h 220"/>
                  <a:gd name="T64" fmla="*/ 6 w 221"/>
                  <a:gd name="T65" fmla="*/ 109 h 220"/>
                  <a:gd name="T66" fmla="*/ 3 w 221"/>
                  <a:gd name="T67" fmla="*/ 132 h 220"/>
                  <a:gd name="T68" fmla="*/ 30 w 221"/>
                  <a:gd name="T69" fmla="*/ 137 h 220"/>
                  <a:gd name="T70" fmla="*/ 46 w 221"/>
                  <a:gd name="T71" fmla="*/ 152 h 220"/>
                  <a:gd name="T72" fmla="*/ 46 w 221"/>
                  <a:gd name="T73" fmla="*/ 166 h 220"/>
                  <a:gd name="T74" fmla="*/ 37 w 221"/>
                  <a:gd name="T75" fmla="*/ 192 h 220"/>
                  <a:gd name="T76" fmla="*/ 78 w 221"/>
                  <a:gd name="T77" fmla="*/ 85 h 220"/>
                  <a:gd name="T78" fmla="*/ 142 w 221"/>
                  <a:gd name="T79" fmla="*/ 134 h 2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221" h="220">
                    <a:moveTo>
                      <a:pt x="37" y="192"/>
                    </a:moveTo>
                    <a:cubicBezTo>
                      <a:pt x="50" y="202"/>
                      <a:pt x="50" y="202"/>
                      <a:pt x="50" y="202"/>
                    </a:cubicBezTo>
                    <a:cubicBezTo>
                      <a:pt x="52" y="203"/>
                      <a:pt x="56" y="203"/>
                      <a:pt x="59" y="201"/>
                    </a:cubicBezTo>
                    <a:cubicBezTo>
                      <a:pt x="73" y="186"/>
                      <a:pt x="73" y="186"/>
                      <a:pt x="73" y="186"/>
                    </a:cubicBezTo>
                    <a:cubicBezTo>
                      <a:pt x="78" y="181"/>
                      <a:pt x="82" y="181"/>
                      <a:pt x="85" y="183"/>
                    </a:cubicBezTo>
                    <a:cubicBezTo>
                      <a:pt x="86" y="183"/>
                      <a:pt x="86" y="183"/>
                      <a:pt x="86" y="183"/>
                    </a:cubicBezTo>
                    <a:cubicBezTo>
                      <a:pt x="89" y="184"/>
                      <a:pt x="92" y="185"/>
                      <a:pt x="95" y="185"/>
                    </a:cubicBezTo>
                    <a:cubicBezTo>
                      <a:pt x="95" y="185"/>
                      <a:pt x="95" y="185"/>
                      <a:pt x="95" y="185"/>
                    </a:cubicBezTo>
                    <a:cubicBezTo>
                      <a:pt x="99" y="186"/>
                      <a:pt x="103" y="188"/>
                      <a:pt x="105" y="195"/>
                    </a:cubicBezTo>
                    <a:cubicBezTo>
                      <a:pt x="109" y="214"/>
                      <a:pt x="109" y="214"/>
                      <a:pt x="109" y="214"/>
                    </a:cubicBezTo>
                    <a:cubicBezTo>
                      <a:pt x="110" y="218"/>
                      <a:pt x="114" y="220"/>
                      <a:pt x="116" y="220"/>
                    </a:cubicBezTo>
                    <a:cubicBezTo>
                      <a:pt x="133" y="218"/>
                      <a:pt x="133" y="218"/>
                      <a:pt x="133" y="218"/>
                    </a:cubicBezTo>
                    <a:cubicBezTo>
                      <a:pt x="135" y="217"/>
                      <a:pt x="138" y="214"/>
                      <a:pt x="138" y="210"/>
                    </a:cubicBezTo>
                    <a:cubicBezTo>
                      <a:pt x="138" y="191"/>
                      <a:pt x="138" y="191"/>
                      <a:pt x="138" y="191"/>
                    </a:cubicBezTo>
                    <a:cubicBezTo>
                      <a:pt x="138" y="184"/>
                      <a:pt x="141" y="181"/>
                      <a:pt x="144" y="179"/>
                    </a:cubicBezTo>
                    <a:cubicBezTo>
                      <a:pt x="144" y="179"/>
                      <a:pt x="145" y="179"/>
                      <a:pt x="145" y="179"/>
                    </a:cubicBezTo>
                    <a:cubicBezTo>
                      <a:pt x="147" y="177"/>
                      <a:pt x="150" y="176"/>
                      <a:pt x="153" y="174"/>
                    </a:cubicBezTo>
                    <a:cubicBezTo>
                      <a:pt x="153" y="174"/>
                      <a:pt x="153" y="174"/>
                      <a:pt x="153" y="174"/>
                    </a:cubicBezTo>
                    <a:cubicBezTo>
                      <a:pt x="156" y="172"/>
                      <a:pt x="161" y="171"/>
                      <a:pt x="167" y="174"/>
                    </a:cubicBezTo>
                    <a:cubicBezTo>
                      <a:pt x="183" y="184"/>
                      <a:pt x="183" y="184"/>
                      <a:pt x="183" y="184"/>
                    </a:cubicBezTo>
                    <a:cubicBezTo>
                      <a:pt x="187" y="186"/>
                      <a:pt x="191" y="185"/>
                      <a:pt x="192" y="183"/>
                    </a:cubicBezTo>
                    <a:cubicBezTo>
                      <a:pt x="202" y="170"/>
                      <a:pt x="202" y="170"/>
                      <a:pt x="202" y="170"/>
                    </a:cubicBezTo>
                    <a:cubicBezTo>
                      <a:pt x="204" y="169"/>
                      <a:pt x="204" y="164"/>
                      <a:pt x="201" y="161"/>
                    </a:cubicBezTo>
                    <a:cubicBezTo>
                      <a:pt x="187" y="148"/>
                      <a:pt x="187" y="148"/>
                      <a:pt x="187" y="148"/>
                    </a:cubicBezTo>
                    <a:cubicBezTo>
                      <a:pt x="182" y="143"/>
                      <a:pt x="182" y="139"/>
                      <a:pt x="183" y="135"/>
                    </a:cubicBezTo>
                    <a:cubicBezTo>
                      <a:pt x="183" y="135"/>
                      <a:pt x="183" y="135"/>
                      <a:pt x="183" y="134"/>
                    </a:cubicBezTo>
                    <a:cubicBezTo>
                      <a:pt x="184" y="131"/>
                      <a:pt x="185" y="128"/>
                      <a:pt x="186" y="126"/>
                    </a:cubicBezTo>
                    <a:cubicBezTo>
                      <a:pt x="186" y="125"/>
                      <a:pt x="186" y="125"/>
                      <a:pt x="186" y="125"/>
                    </a:cubicBezTo>
                    <a:cubicBezTo>
                      <a:pt x="187" y="121"/>
                      <a:pt x="189" y="117"/>
                      <a:pt x="196" y="116"/>
                    </a:cubicBezTo>
                    <a:cubicBezTo>
                      <a:pt x="215" y="111"/>
                      <a:pt x="215" y="111"/>
                      <a:pt x="215" y="111"/>
                    </a:cubicBezTo>
                    <a:cubicBezTo>
                      <a:pt x="218" y="110"/>
                      <a:pt x="221" y="106"/>
                      <a:pt x="220" y="104"/>
                    </a:cubicBezTo>
                    <a:cubicBezTo>
                      <a:pt x="218" y="88"/>
                      <a:pt x="218" y="88"/>
                      <a:pt x="218" y="88"/>
                    </a:cubicBezTo>
                    <a:cubicBezTo>
                      <a:pt x="218" y="85"/>
                      <a:pt x="215" y="82"/>
                      <a:pt x="211" y="82"/>
                    </a:cubicBezTo>
                    <a:cubicBezTo>
                      <a:pt x="191" y="83"/>
                      <a:pt x="191" y="83"/>
                      <a:pt x="191" y="83"/>
                    </a:cubicBezTo>
                    <a:cubicBezTo>
                      <a:pt x="184" y="83"/>
                      <a:pt x="181" y="80"/>
                      <a:pt x="180" y="76"/>
                    </a:cubicBezTo>
                    <a:cubicBezTo>
                      <a:pt x="180" y="76"/>
                      <a:pt x="179" y="76"/>
                      <a:pt x="179" y="76"/>
                    </a:cubicBezTo>
                    <a:cubicBezTo>
                      <a:pt x="178" y="73"/>
                      <a:pt x="176" y="70"/>
                      <a:pt x="175" y="68"/>
                    </a:cubicBezTo>
                    <a:cubicBezTo>
                      <a:pt x="175" y="67"/>
                      <a:pt x="175" y="67"/>
                      <a:pt x="175" y="67"/>
                    </a:cubicBezTo>
                    <a:cubicBezTo>
                      <a:pt x="172" y="64"/>
                      <a:pt x="171" y="60"/>
                      <a:pt x="175" y="53"/>
                    </a:cubicBezTo>
                    <a:cubicBezTo>
                      <a:pt x="185" y="37"/>
                      <a:pt x="185" y="37"/>
                      <a:pt x="185" y="37"/>
                    </a:cubicBezTo>
                    <a:cubicBezTo>
                      <a:pt x="187" y="34"/>
                      <a:pt x="186" y="29"/>
                      <a:pt x="184" y="28"/>
                    </a:cubicBezTo>
                    <a:cubicBezTo>
                      <a:pt x="171" y="18"/>
                      <a:pt x="171" y="18"/>
                      <a:pt x="171" y="18"/>
                    </a:cubicBezTo>
                    <a:cubicBezTo>
                      <a:pt x="169" y="17"/>
                      <a:pt x="164" y="16"/>
                      <a:pt x="162" y="19"/>
                    </a:cubicBezTo>
                    <a:cubicBezTo>
                      <a:pt x="148" y="34"/>
                      <a:pt x="148" y="34"/>
                      <a:pt x="148" y="34"/>
                    </a:cubicBezTo>
                    <a:cubicBezTo>
                      <a:pt x="143" y="38"/>
                      <a:pt x="139" y="38"/>
                      <a:pt x="135" y="37"/>
                    </a:cubicBezTo>
                    <a:cubicBezTo>
                      <a:pt x="135" y="37"/>
                      <a:pt x="135" y="37"/>
                      <a:pt x="135" y="37"/>
                    </a:cubicBezTo>
                    <a:cubicBezTo>
                      <a:pt x="132" y="36"/>
                      <a:pt x="129" y="35"/>
                      <a:pt x="126" y="34"/>
                    </a:cubicBezTo>
                    <a:cubicBezTo>
                      <a:pt x="126" y="34"/>
                      <a:pt x="126" y="34"/>
                      <a:pt x="126" y="34"/>
                    </a:cubicBezTo>
                    <a:cubicBezTo>
                      <a:pt x="121" y="34"/>
                      <a:pt x="118" y="32"/>
                      <a:pt x="116" y="24"/>
                    </a:cubicBezTo>
                    <a:cubicBezTo>
                      <a:pt x="112" y="6"/>
                      <a:pt x="112" y="6"/>
                      <a:pt x="112" y="6"/>
                    </a:cubicBezTo>
                    <a:cubicBezTo>
                      <a:pt x="111" y="2"/>
                      <a:pt x="107" y="0"/>
                      <a:pt x="104" y="0"/>
                    </a:cubicBezTo>
                    <a:cubicBezTo>
                      <a:pt x="88" y="2"/>
                      <a:pt x="88" y="2"/>
                      <a:pt x="88" y="2"/>
                    </a:cubicBezTo>
                    <a:cubicBezTo>
                      <a:pt x="86" y="2"/>
                      <a:pt x="83" y="6"/>
                      <a:pt x="83" y="9"/>
                    </a:cubicBezTo>
                    <a:cubicBezTo>
                      <a:pt x="83" y="29"/>
                      <a:pt x="83" y="29"/>
                      <a:pt x="83" y="29"/>
                    </a:cubicBezTo>
                    <a:cubicBezTo>
                      <a:pt x="83" y="36"/>
                      <a:pt x="80" y="39"/>
                      <a:pt x="77" y="41"/>
                    </a:cubicBezTo>
                    <a:cubicBezTo>
                      <a:pt x="73" y="42"/>
                      <a:pt x="70" y="44"/>
                      <a:pt x="68" y="46"/>
                    </a:cubicBezTo>
                    <a:cubicBezTo>
                      <a:pt x="64" y="48"/>
                      <a:pt x="60" y="49"/>
                      <a:pt x="54" y="46"/>
                    </a:cubicBezTo>
                    <a:cubicBezTo>
                      <a:pt x="38" y="35"/>
                      <a:pt x="38" y="35"/>
                      <a:pt x="38" y="35"/>
                    </a:cubicBezTo>
                    <a:cubicBezTo>
                      <a:pt x="34" y="33"/>
                      <a:pt x="30" y="35"/>
                      <a:pt x="29" y="36"/>
                    </a:cubicBezTo>
                    <a:cubicBezTo>
                      <a:pt x="19" y="49"/>
                      <a:pt x="19" y="49"/>
                      <a:pt x="19" y="49"/>
                    </a:cubicBezTo>
                    <a:cubicBezTo>
                      <a:pt x="17" y="51"/>
                      <a:pt x="17" y="56"/>
                      <a:pt x="20" y="59"/>
                    </a:cubicBezTo>
                    <a:cubicBezTo>
                      <a:pt x="34" y="72"/>
                      <a:pt x="34" y="72"/>
                      <a:pt x="34" y="72"/>
                    </a:cubicBezTo>
                    <a:cubicBezTo>
                      <a:pt x="38" y="76"/>
                      <a:pt x="39" y="80"/>
                      <a:pt x="38" y="83"/>
                    </a:cubicBezTo>
                    <a:cubicBezTo>
                      <a:pt x="37" y="87"/>
                      <a:pt x="36" y="91"/>
                      <a:pt x="35" y="96"/>
                    </a:cubicBezTo>
                    <a:cubicBezTo>
                      <a:pt x="34" y="99"/>
                      <a:pt x="32" y="103"/>
                      <a:pt x="25" y="104"/>
                    </a:cubicBezTo>
                    <a:cubicBezTo>
                      <a:pt x="6" y="109"/>
                      <a:pt x="6" y="109"/>
                      <a:pt x="6" y="109"/>
                    </a:cubicBezTo>
                    <a:cubicBezTo>
                      <a:pt x="2" y="110"/>
                      <a:pt x="0" y="113"/>
                      <a:pt x="1" y="116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" y="134"/>
                      <a:pt x="6" y="138"/>
                      <a:pt x="10" y="138"/>
                    </a:cubicBezTo>
                    <a:cubicBezTo>
                      <a:pt x="30" y="137"/>
                      <a:pt x="30" y="137"/>
                      <a:pt x="30" y="137"/>
                    </a:cubicBezTo>
                    <a:cubicBezTo>
                      <a:pt x="37" y="137"/>
                      <a:pt x="40" y="140"/>
                      <a:pt x="41" y="144"/>
                    </a:cubicBezTo>
                    <a:cubicBezTo>
                      <a:pt x="43" y="147"/>
                      <a:pt x="44" y="150"/>
                      <a:pt x="46" y="152"/>
                    </a:cubicBezTo>
                    <a:cubicBezTo>
                      <a:pt x="46" y="153"/>
                      <a:pt x="46" y="153"/>
                      <a:pt x="46" y="153"/>
                    </a:cubicBezTo>
                    <a:cubicBezTo>
                      <a:pt x="49" y="156"/>
                      <a:pt x="50" y="160"/>
                      <a:pt x="46" y="166"/>
                    </a:cubicBezTo>
                    <a:cubicBezTo>
                      <a:pt x="36" y="183"/>
                      <a:pt x="36" y="183"/>
                      <a:pt x="36" y="183"/>
                    </a:cubicBezTo>
                    <a:cubicBezTo>
                      <a:pt x="34" y="186"/>
                      <a:pt x="35" y="190"/>
                      <a:pt x="37" y="192"/>
                    </a:cubicBezTo>
                    <a:close/>
                    <a:moveTo>
                      <a:pt x="86" y="142"/>
                    </a:moveTo>
                    <a:cubicBezTo>
                      <a:pt x="68" y="128"/>
                      <a:pt x="65" y="103"/>
                      <a:pt x="78" y="85"/>
                    </a:cubicBezTo>
                    <a:cubicBezTo>
                      <a:pt x="92" y="68"/>
                      <a:pt x="117" y="64"/>
                      <a:pt x="135" y="78"/>
                    </a:cubicBezTo>
                    <a:cubicBezTo>
                      <a:pt x="152" y="92"/>
                      <a:pt x="156" y="117"/>
                      <a:pt x="142" y="134"/>
                    </a:cubicBezTo>
                    <a:cubicBezTo>
                      <a:pt x="129" y="152"/>
                      <a:pt x="103" y="155"/>
                      <a:pt x="86" y="142"/>
                    </a:cubicBezTo>
                    <a:close/>
                  </a:path>
                </a:pathLst>
              </a:custGeom>
              <a:solidFill>
                <a:srgbClr val="D83B0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55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53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4" name="Freeform 6"/>
              <p:cNvSpPr>
                <a:spLocks noEditPoints="1"/>
              </p:cNvSpPr>
              <p:nvPr userDrawn="1"/>
            </p:nvSpPr>
            <p:spPr bwMode="auto">
              <a:xfrm>
                <a:off x="9758363" y="8366126"/>
                <a:ext cx="1060450" cy="1062038"/>
              </a:xfrm>
              <a:custGeom>
                <a:avLst/>
                <a:gdLst>
                  <a:gd name="T0" fmla="*/ 264 w 302"/>
                  <a:gd name="T1" fmla="*/ 100 h 302"/>
                  <a:gd name="T2" fmla="*/ 274 w 302"/>
                  <a:gd name="T3" fmla="*/ 69 h 302"/>
                  <a:gd name="T4" fmla="*/ 248 w 302"/>
                  <a:gd name="T5" fmla="*/ 61 h 302"/>
                  <a:gd name="T6" fmla="*/ 233 w 302"/>
                  <a:gd name="T7" fmla="*/ 47 h 302"/>
                  <a:gd name="T8" fmla="*/ 224 w 302"/>
                  <a:gd name="T9" fmla="*/ 22 h 302"/>
                  <a:gd name="T10" fmla="*/ 196 w 302"/>
                  <a:gd name="T11" fmla="*/ 35 h 302"/>
                  <a:gd name="T12" fmla="*/ 180 w 302"/>
                  <a:gd name="T13" fmla="*/ 6 h 302"/>
                  <a:gd name="T14" fmla="*/ 157 w 302"/>
                  <a:gd name="T15" fmla="*/ 19 h 302"/>
                  <a:gd name="T16" fmla="*/ 136 w 302"/>
                  <a:gd name="T17" fmla="*/ 20 h 302"/>
                  <a:gd name="T18" fmla="*/ 112 w 302"/>
                  <a:gd name="T19" fmla="*/ 8 h 302"/>
                  <a:gd name="T20" fmla="*/ 101 w 302"/>
                  <a:gd name="T21" fmla="*/ 38 h 302"/>
                  <a:gd name="T22" fmla="*/ 69 w 302"/>
                  <a:gd name="T23" fmla="*/ 28 h 302"/>
                  <a:gd name="T24" fmla="*/ 62 w 302"/>
                  <a:gd name="T25" fmla="*/ 54 h 302"/>
                  <a:gd name="T26" fmla="*/ 48 w 302"/>
                  <a:gd name="T27" fmla="*/ 69 h 302"/>
                  <a:gd name="T28" fmla="*/ 23 w 302"/>
                  <a:gd name="T29" fmla="*/ 78 h 302"/>
                  <a:gd name="T30" fmla="*/ 36 w 302"/>
                  <a:gd name="T31" fmla="*/ 107 h 302"/>
                  <a:gd name="T32" fmla="*/ 6 w 302"/>
                  <a:gd name="T33" fmla="*/ 122 h 302"/>
                  <a:gd name="T34" fmla="*/ 20 w 302"/>
                  <a:gd name="T35" fmla="*/ 145 h 302"/>
                  <a:gd name="T36" fmla="*/ 20 w 302"/>
                  <a:gd name="T37" fmla="*/ 166 h 302"/>
                  <a:gd name="T38" fmla="*/ 9 w 302"/>
                  <a:gd name="T39" fmla="*/ 190 h 302"/>
                  <a:gd name="T40" fmla="*/ 38 w 302"/>
                  <a:gd name="T41" fmla="*/ 201 h 302"/>
                  <a:gd name="T42" fmla="*/ 28 w 302"/>
                  <a:gd name="T43" fmla="*/ 233 h 302"/>
                  <a:gd name="T44" fmla="*/ 54 w 302"/>
                  <a:gd name="T45" fmla="*/ 240 h 302"/>
                  <a:gd name="T46" fmla="*/ 69 w 302"/>
                  <a:gd name="T47" fmla="*/ 254 h 302"/>
                  <a:gd name="T48" fmla="*/ 78 w 302"/>
                  <a:gd name="T49" fmla="*/ 279 h 302"/>
                  <a:gd name="T50" fmla="*/ 107 w 302"/>
                  <a:gd name="T51" fmla="*/ 266 h 302"/>
                  <a:gd name="T52" fmla="*/ 123 w 302"/>
                  <a:gd name="T53" fmla="*/ 296 h 302"/>
                  <a:gd name="T54" fmla="*/ 146 w 302"/>
                  <a:gd name="T55" fmla="*/ 282 h 302"/>
                  <a:gd name="T56" fmla="*/ 166 w 302"/>
                  <a:gd name="T57" fmla="*/ 282 h 302"/>
                  <a:gd name="T58" fmla="*/ 191 w 302"/>
                  <a:gd name="T59" fmla="*/ 293 h 302"/>
                  <a:gd name="T60" fmla="*/ 202 w 302"/>
                  <a:gd name="T61" fmla="*/ 264 h 302"/>
                  <a:gd name="T62" fmla="*/ 233 w 302"/>
                  <a:gd name="T63" fmla="*/ 274 h 302"/>
                  <a:gd name="T64" fmla="*/ 241 w 302"/>
                  <a:gd name="T65" fmla="*/ 248 h 302"/>
                  <a:gd name="T66" fmla="*/ 255 w 302"/>
                  <a:gd name="T67" fmla="*/ 233 h 302"/>
                  <a:gd name="T68" fmla="*/ 280 w 302"/>
                  <a:gd name="T69" fmla="*/ 224 h 302"/>
                  <a:gd name="T70" fmla="*/ 267 w 302"/>
                  <a:gd name="T71" fmla="*/ 195 h 302"/>
                  <a:gd name="T72" fmla="*/ 296 w 302"/>
                  <a:gd name="T73" fmla="*/ 180 h 302"/>
                  <a:gd name="T74" fmla="*/ 283 w 302"/>
                  <a:gd name="T75" fmla="*/ 156 h 302"/>
                  <a:gd name="T76" fmla="*/ 282 w 302"/>
                  <a:gd name="T77" fmla="*/ 136 h 302"/>
                  <a:gd name="T78" fmla="*/ 294 w 302"/>
                  <a:gd name="T79" fmla="*/ 111 h 302"/>
                  <a:gd name="T80" fmla="*/ 147 w 302"/>
                  <a:gd name="T81" fmla="*/ 176 h 302"/>
                  <a:gd name="T82" fmla="*/ 156 w 302"/>
                  <a:gd name="T83" fmla="*/ 125 h 302"/>
                  <a:gd name="T84" fmla="*/ 147 w 302"/>
                  <a:gd name="T85" fmla="*/ 176 h 3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302" h="302">
                    <a:moveTo>
                      <a:pt x="275" y="105"/>
                    </a:moveTo>
                    <a:cubicBezTo>
                      <a:pt x="270" y="103"/>
                      <a:pt x="265" y="101"/>
                      <a:pt x="264" y="100"/>
                    </a:cubicBezTo>
                    <a:cubicBezTo>
                      <a:pt x="264" y="99"/>
                      <a:pt x="264" y="92"/>
                      <a:pt x="267" y="87"/>
                    </a:cubicBezTo>
                    <a:cubicBezTo>
                      <a:pt x="274" y="69"/>
                      <a:pt x="274" y="69"/>
                      <a:pt x="274" y="69"/>
                    </a:cubicBezTo>
                    <a:cubicBezTo>
                      <a:pt x="276" y="63"/>
                      <a:pt x="274" y="60"/>
                      <a:pt x="268" y="60"/>
                    </a:cubicBezTo>
                    <a:cubicBezTo>
                      <a:pt x="248" y="61"/>
                      <a:pt x="248" y="61"/>
                      <a:pt x="248" y="61"/>
                    </a:cubicBezTo>
                    <a:cubicBezTo>
                      <a:pt x="243" y="62"/>
                      <a:pt x="237" y="62"/>
                      <a:pt x="237" y="61"/>
                    </a:cubicBezTo>
                    <a:cubicBezTo>
                      <a:pt x="236" y="60"/>
                      <a:pt x="233" y="53"/>
                      <a:pt x="233" y="47"/>
                    </a:cubicBezTo>
                    <a:cubicBezTo>
                      <a:pt x="233" y="28"/>
                      <a:pt x="233" y="28"/>
                      <a:pt x="233" y="28"/>
                    </a:cubicBezTo>
                    <a:cubicBezTo>
                      <a:pt x="233" y="22"/>
                      <a:pt x="229" y="20"/>
                      <a:pt x="224" y="22"/>
                    </a:cubicBezTo>
                    <a:cubicBezTo>
                      <a:pt x="207" y="31"/>
                      <a:pt x="207" y="31"/>
                      <a:pt x="207" y="31"/>
                    </a:cubicBezTo>
                    <a:cubicBezTo>
                      <a:pt x="202" y="34"/>
                      <a:pt x="197" y="35"/>
                      <a:pt x="196" y="35"/>
                    </a:cubicBezTo>
                    <a:cubicBezTo>
                      <a:pt x="194" y="34"/>
                      <a:pt x="190" y="29"/>
                      <a:pt x="188" y="24"/>
                    </a:cubicBezTo>
                    <a:cubicBezTo>
                      <a:pt x="180" y="6"/>
                      <a:pt x="180" y="6"/>
                      <a:pt x="180" y="6"/>
                    </a:cubicBezTo>
                    <a:cubicBezTo>
                      <a:pt x="178" y="1"/>
                      <a:pt x="173" y="0"/>
                      <a:pt x="170" y="4"/>
                    </a:cubicBezTo>
                    <a:cubicBezTo>
                      <a:pt x="157" y="19"/>
                      <a:pt x="157" y="19"/>
                      <a:pt x="157" y="19"/>
                    </a:cubicBezTo>
                    <a:cubicBezTo>
                      <a:pt x="153" y="23"/>
                      <a:pt x="149" y="27"/>
                      <a:pt x="148" y="27"/>
                    </a:cubicBezTo>
                    <a:cubicBezTo>
                      <a:pt x="147" y="27"/>
                      <a:pt x="140" y="24"/>
                      <a:pt x="136" y="20"/>
                    </a:cubicBezTo>
                    <a:cubicBezTo>
                      <a:pt x="122" y="6"/>
                      <a:pt x="122" y="6"/>
                      <a:pt x="122" y="6"/>
                    </a:cubicBezTo>
                    <a:cubicBezTo>
                      <a:pt x="118" y="2"/>
                      <a:pt x="114" y="3"/>
                      <a:pt x="112" y="8"/>
                    </a:cubicBezTo>
                    <a:cubicBezTo>
                      <a:pt x="106" y="27"/>
                      <a:pt x="106" y="27"/>
                      <a:pt x="106" y="27"/>
                    </a:cubicBezTo>
                    <a:cubicBezTo>
                      <a:pt x="104" y="32"/>
                      <a:pt x="102" y="37"/>
                      <a:pt x="101" y="38"/>
                    </a:cubicBezTo>
                    <a:cubicBezTo>
                      <a:pt x="100" y="38"/>
                      <a:pt x="93" y="38"/>
                      <a:pt x="88" y="35"/>
                    </a:cubicBezTo>
                    <a:cubicBezTo>
                      <a:pt x="69" y="28"/>
                      <a:pt x="69" y="28"/>
                      <a:pt x="69" y="28"/>
                    </a:cubicBezTo>
                    <a:cubicBezTo>
                      <a:pt x="64" y="26"/>
                      <a:pt x="60" y="28"/>
                      <a:pt x="61" y="34"/>
                    </a:cubicBezTo>
                    <a:cubicBezTo>
                      <a:pt x="62" y="54"/>
                      <a:pt x="62" y="54"/>
                      <a:pt x="62" y="54"/>
                    </a:cubicBezTo>
                    <a:cubicBezTo>
                      <a:pt x="63" y="59"/>
                      <a:pt x="62" y="65"/>
                      <a:pt x="61" y="66"/>
                    </a:cubicBezTo>
                    <a:cubicBezTo>
                      <a:pt x="61" y="66"/>
                      <a:pt x="54" y="69"/>
                      <a:pt x="48" y="69"/>
                    </a:cubicBezTo>
                    <a:cubicBezTo>
                      <a:pt x="28" y="69"/>
                      <a:pt x="28" y="69"/>
                      <a:pt x="28" y="69"/>
                    </a:cubicBezTo>
                    <a:cubicBezTo>
                      <a:pt x="23" y="69"/>
                      <a:pt x="20" y="73"/>
                      <a:pt x="23" y="78"/>
                    </a:cubicBezTo>
                    <a:cubicBezTo>
                      <a:pt x="32" y="95"/>
                      <a:pt x="32" y="95"/>
                      <a:pt x="32" y="95"/>
                    </a:cubicBezTo>
                    <a:cubicBezTo>
                      <a:pt x="34" y="100"/>
                      <a:pt x="36" y="105"/>
                      <a:pt x="36" y="107"/>
                    </a:cubicBezTo>
                    <a:cubicBezTo>
                      <a:pt x="35" y="108"/>
                      <a:pt x="30" y="112"/>
                      <a:pt x="25" y="114"/>
                    </a:cubicBezTo>
                    <a:cubicBezTo>
                      <a:pt x="6" y="122"/>
                      <a:pt x="6" y="122"/>
                      <a:pt x="6" y="122"/>
                    </a:cubicBezTo>
                    <a:cubicBezTo>
                      <a:pt x="1" y="124"/>
                      <a:pt x="0" y="129"/>
                      <a:pt x="5" y="132"/>
                    </a:cubicBezTo>
                    <a:cubicBezTo>
                      <a:pt x="20" y="145"/>
                      <a:pt x="20" y="145"/>
                      <a:pt x="20" y="145"/>
                    </a:cubicBezTo>
                    <a:cubicBezTo>
                      <a:pt x="24" y="149"/>
                      <a:pt x="27" y="153"/>
                      <a:pt x="27" y="154"/>
                    </a:cubicBezTo>
                    <a:cubicBezTo>
                      <a:pt x="28" y="155"/>
                      <a:pt x="24" y="162"/>
                      <a:pt x="20" y="166"/>
                    </a:cubicBezTo>
                    <a:cubicBezTo>
                      <a:pt x="6" y="180"/>
                      <a:pt x="6" y="180"/>
                      <a:pt x="6" y="180"/>
                    </a:cubicBezTo>
                    <a:cubicBezTo>
                      <a:pt x="2" y="184"/>
                      <a:pt x="4" y="188"/>
                      <a:pt x="9" y="190"/>
                    </a:cubicBezTo>
                    <a:cubicBezTo>
                      <a:pt x="28" y="196"/>
                      <a:pt x="28" y="196"/>
                      <a:pt x="28" y="196"/>
                    </a:cubicBezTo>
                    <a:cubicBezTo>
                      <a:pt x="33" y="198"/>
                      <a:pt x="38" y="200"/>
                      <a:pt x="38" y="201"/>
                    </a:cubicBezTo>
                    <a:cubicBezTo>
                      <a:pt x="39" y="202"/>
                      <a:pt x="38" y="209"/>
                      <a:pt x="36" y="214"/>
                    </a:cubicBezTo>
                    <a:cubicBezTo>
                      <a:pt x="28" y="233"/>
                      <a:pt x="28" y="233"/>
                      <a:pt x="28" y="233"/>
                    </a:cubicBezTo>
                    <a:cubicBezTo>
                      <a:pt x="26" y="238"/>
                      <a:pt x="29" y="242"/>
                      <a:pt x="35" y="241"/>
                    </a:cubicBezTo>
                    <a:cubicBezTo>
                      <a:pt x="54" y="240"/>
                      <a:pt x="54" y="240"/>
                      <a:pt x="54" y="240"/>
                    </a:cubicBezTo>
                    <a:cubicBezTo>
                      <a:pt x="60" y="240"/>
                      <a:pt x="65" y="240"/>
                      <a:pt x="66" y="241"/>
                    </a:cubicBezTo>
                    <a:cubicBezTo>
                      <a:pt x="67" y="242"/>
                      <a:pt x="69" y="248"/>
                      <a:pt x="69" y="254"/>
                    </a:cubicBezTo>
                    <a:cubicBezTo>
                      <a:pt x="69" y="274"/>
                      <a:pt x="69" y="274"/>
                      <a:pt x="69" y="274"/>
                    </a:cubicBezTo>
                    <a:cubicBezTo>
                      <a:pt x="69" y="279"/>
                      <a:pt x="73" y="282"/>
                      <a:pt x="78" y="279"/>
                    </a:cubicBezTo>
                    <a:cubicBezTo>
                      <a:pt x="96" y="270"/>
                      <a:pt x="96" y="270"/>
                      <a:pt x="96" y="270"/>
                    </a:cubicBezTo>
                    <a:cubicBezTo>
                      <a:pt x="101" y="268"/>
                      <a:pt x="106" y="266"/>
                      <a:pt x="107" y="266"/>
                    </a:cubicBezTo>
                    <a:cubicBezTo>
                      <a:pt x="108" y="267"/>
                      <a:pt x="113" y="272"/>
                      <a:pt x="115" y="277"/>
                    </a:cubicBezTo>
                    <a:cubicBezTo>
                      <a:pt x="123" y="296"/>
                      <a:pt x="123" y="296"/>
                      <a:pt x="123" y="296"/>
                    </a:cubicBezTo>
                    <a:cubicBezTo>
                      <a:pt x="125" y="301"/>
                      <a:pt x="129" y="302"/>
                      <a:pt x="133" y="297"/>
                    </a:cubicBezTo>
                    <a:cubicBezTo>
                      <a:pt x="146" y="282"/>
                      <a:pt x="146" y="282"/>
                      <a:pt x="146" y="282"/>
                    </a:cubicBezTo>
                    <a:cubicBezTo>
                      <a:pt x="150" y="278"/>
                      <a:pt x="154" y="275"/>
                      <a:pt x="155" y="275"/>
                    </a:cubicBezTo>
                    <a:cubicBezTo>
                      <a:pt x="156" y="275"/>
                      <a:pt x="162" y="278"/>
                      <a:pt x="166" y="282"/>
                    </a:cubicBezTo>
                    <a:cubicBezTo>
                      <a:pt x="180" y="296"/>
                      <a:pt x="180" y="296"/>
                      <a:pt x="180" y="296"/>
                    </a:cubicBezTo>
                    <a:cubicBezTo>
                      <a:pt x="184" y="300"/>
                      <a:pt x="189" y="298"/>
                      <a:pt x="191" y="293"/>
                    </a:cubicBezTo>
                    <a:cubicBezTo>
                      <a:pt x="197" y="274"/>
                      <a:pt x="197" y="274"/>
                      <a:pt x="197" y="274"/>
                    </a:cubicBezTo>
                    <a:cubicBezTo>
                      <a:pt x="199" y="269"/>
                      <a:pt x="201" y="264"/>
                      <a:pt x="202" y="264"/>
                    </a:cubicBezTo>
                    <a:cubicBezTo>
                      <a:pt x="203" y="263"/>
                      <a:pt x="210" y="264"/>
                      <a:pt x="215" y="266"/>
                    </a:cubicBezTo>
                    <a:cubicBezTo>
                      <a:pt x="233" y="274"/>
                      <a:pt x="233" y="274"/>
                      <a:pt x="233" y="274"/>
                    </a:cubicBezTo>
                    <a:cubicBezTo>
                      <a:pt x="239" y="276"/>
                      <a:pt x="243" y="273"/>
                      <a:pt x="242" y="267"/>
                    </a:cubicBezTo>
                    <a:cubicBezTo>
                      <a:pt x="241" y="248"/>
                      <a:pt x="241" y="248"/>
                      <a:pt x="241" y="248"/>
                    </a:cubicBezTo>
                    <a:cubicBezTo>
                      <a:pt x="240" y="242"/>
                      <a:pt x="241" y="237"/>
                      <a:pt x="241" y="236"/>
                    </a:cubicBezTo>
                    <a:cubicBezTo>
                      <a:pt x="242" y="235"/>
                      <a:pt x="249" y="233"/>
                      <a:pt x="255" y="233"/>
                    </a:cubicBezTo>
                    <a:cubicBezTo>
                      <a:pt x="274" y="233"/>
                      <a:pt x="274" y="233"/>
                      <a:pt x="274" y="233"/>
                    </a:cubicBezTo>
                    <a:cubicBezTo>
                      <a:pt x="280" y="233"/>
                      <a:pt x="283" y="229"/>
                      <a:pt x="280" y="224"/>
                    </a:cubicBezTo>
                    <a:cubicBezTo>
                      <a:pt x="271" y="206"/>
                      <a:pt x="271" y="206"/>
                      <a:pt x="271" y="206"/>
                    </a:cubicBezTo>
                    <a:cubicBezTo>
                      <a:pt x="268" y="201"/>
                      <a:pt x="267" y="196"/>
                      <a:pt x="267" y="195"/>
                    </a:cubicBezTo>
                    <a:cubicBezTo>
                      <a:pt x="268" y="194"/>
                      <a:pt x="273" y="189"/>
                      <a:pt x="278" y="187"/>
                    </a:cubicBezTo>
                    <a:cubicBezTo>
                      <a:pt x="296" y="180"/>
                      <a:pt x="296" y="180"/>
                      <a:pt x="296" y="180"/>
                    </a:cubicBezTo>
                    <a:cubicBezTo>
                      <a:pt x="302" y="177"/>
                      <a:pt x="302" y="173"/>
                      <a:pt x="298" y="169"/>
                    </a:cubicBezTo>
                    <a:cubicBezTo>
                      <a:pt x="283" y="156"/>
                      <a:pt x="283" y="156"/>
                      <a:pt x="283" y="156"/>
                    </a:cubicBezTo>
                    <a:cubicBezTo>
                      <a:pt x="279" y="152"/>
                      <a:pt x="275" y="148"/>
                      <a:pt x="275" y="147"/>
                    </a:cubicBezTo>
                    <a:cubicBezTo>
                      <a:pt x="275" y="146"/>
                      <a:pt x="278" y="140"/>
                      <a:pt x="282" y="136"/>
                    </a:cubicBezTo>
                    <a:cubicBezTo>
                      <a:pt x="296" y="122"/>
                      <a:pt x="296" y="122"/>
                      <a:pt x="296" y="122"/>
                    </a:cubicBezTo>
                    <a:cubicBezTo>
                      <a:pt x="300" y="118"/>
                      <a:pt x="299" y="113"/>
                      <a:pt x="294" y="111"/>
                    </a:cubicBezTo>
                    <a:lnTo>
                      <a:pt x="275" y="105"/>
                    </a:lnTo>
                    <a:close/>
                    <a:moveTo>
                      <a:pt x="147" y="176"/>
                    </a:moveTo>
                    <a:cubicBezTo>
                      <a:pt x="133" y="174"/>
                      <a:pt x="123" y="161"/>
                      <a:pt x="126" y="147"/>
                    </a:cubicBezTo>
                    <a:cubicBezTo>
                      <a:pt x="128" y="132"/>
                      <a:pt x="141" y="123"/>
                      <a:pt x="156" y="125"/>
                    </a:cubicBezTo>
                    <a:cubicBezTo>
                      <a:pt x="170" y="127"/>
                      <a:pt x="179" y="141"/>
                      <a:pt x="177" y="155"/>
                    </a:cubicBezTo>
                    <a:cubicBezTo>
                      <a:pt x="175" y="169"/>
                      <a:pt x="161" y="179"/>
                      <a:pt x="147" y="176"/>
                    </a:cubicBezTo>
                    <a:close/>
                  </a:path>
                </a:pathLst>
              </a:custGeom>
              <a:solidFill>
                <a:srgbClr val="B4009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55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53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5" name="Freeform 7"/>
              <p:cNvSpPr>
                <a:spLocks noEditPoints="1"/>
              </p:cNvSpPr>
              <p:nvPr userDrawn="1"/>
            </p:nvSpPr>
            <p:spPr bwMode="auto">
              <a:xfrm>
                <a:off x="11022013" y="8059738"/>
                <a:ext cx="1547812" cy="1550988"/>
              </a:xfrm>
              <a:custGeom>
                <a:avLst/>
                <a:gdLst>
                  <a:gd name="T0" fmla="*/ 434 w 441"/>
                  <a:gd name="T1" fmla="*/ 201 h 441"/>
                  <a:gd name="T2" fmla="*/ 425 w 441"/>
                  <a:gd name="T3" fmla="*/ 156 h 441"/>
                  <a:gd name="T4" fmla="*/ 410 w 441"/>
                  <a:gd name="T5" fmla="*/ 120 h 441"/>
                  <a:gd name="T6" fmla="*/ 385 w 441"/>
                  <a:gd name="T7" fmla="*/ 84 h 441"/>
                  <a:gd name="T8" fmla="*/ 357 w 441"/>
                  <a:gd name="T9" fmla="*/ 56 h 441"/>
                  <a:gd name="T10" fmla="*/ 320 w 441"/>
                  <a:gd name="T11" fmla="*/ 30 h 441"/>
                  <a:gd name="T12" fmla="*/ 283 w 441"/>
                  <a:gd name="T13" fmla="*/ 16 h 441"/>
                  <a:gd name="T14" fmla="*/ 240 w 441"/>
                  <a:gd name="T15" fmla="*/ 7 h 441"/>
                  <a:gd name="T16" fmla="*/ 201 w 441"/>
                  <a:gd name="T17" fmla="*/ 7 h 441"/>
                  <a:gd name="T18" fmla="*/ 156 w 441"/>
                  <a:gd name="T19" fmla="*/ 16 h 441"/>
                  <a:gd name="T20" fmla="*/ 120 w 441"/>
                  <a:gd name="T21" fmla="*/ 31 h 441"/>
                  <a:gd name="T22" fmla="*/ 84 w 441"/>
                  <a:gd name="T23" fmla="*/ 56 h 441"/>
                  <a:gd name="T24" fmla="*/ 56 w 441"/>
                  <a:gd name="T25" fmla="*/ 84 h 441"/>
                  <a:gd name="T26" fmla="*/ 31 w 441"/>
                  <a:gd name="T27" fmla="*/ 122 h 441"/>
                  <a:gd name="T28" fmla="*/ 16 w 441"/>
                  <a:gd name="T29" fmla="*/ 158 h 441"/>
                  <a:gd name="T30" fmla="*/ 7 w 441"/>
                  <a:gd name="T31" fmla="*/ 201 h 441"/>
                  <a:gd name="T32" fmla="*/ 7 w 441"/>
                  <a:gd name="T33" fmla="*/ 240 h 441"/>
                  <a:gd name="T34" fmla="*/ 16 w 441"/>
                  <a:gd name="T35" fmla="*/ 285 h 441"/>
                  <a:gd name="T36" fmla="*/ 32 w 441"/>
                  <a:gd name="T37" fmla="*/ 321 h 441"/>
                  <a:gd name="T38" fmla="*/ 56 w 441"/>
                  <a:gd name="T39" fmla="*/ 357 h 441"/>
                  <a:gd name="T40" fmla="*/ 84 w 441"/>
                  <a:gd name="T41" fmla="*/ 385 h 441"/>
                  <a:gd name="T42" fmla="*/ 122 w 441"/>
                  <a:gd name="T43" fmla="*/ 411 h 441"/>
                  <a:gd name="T44" fmla="*/ 158 w 441"/>
                  <a:gd name="T45" fmla="*/ 425 h 441"/>
                  <a:gd name="T46" fmla="*/ 201 w 441"/>
                  <a:gd name="T47" fmla="*/ 434 h 441"/>
                  <a:gd name="T48" fmla="*/ 240 w 441"/>
                  <a:gd name="T49" fmla="*/ 434 h 441"/>
                  <a:gd name="T50" fmla="*/ 285 w 441"/>
                  <a:gd name="T51" fmla="*/ 425 h 441"/>
                  <a:gd name="T52" fmla="*/ 321 w 441"/>
                  <a:gd name="T53" fmla="*/ 410 h 441"/>
                  <a:gd name="T54" fmla="*/ 357 w 441"/>
                  <a:gd name="T55" fmla="*/ 385 h 441"/>
                  <a:gd name="T56" fmla="*/ 385 w 441"/>
                  <a:gd name="T57" fmla="*/ 357 h 441"/>
                  <a:gd name="T58" fmla="*/ 411 w 441"/>
                  <a:gd name="T59" fmla="*/ 319 h 441"/>
                  <a:gd name="T60" fmla="*/ 426 w 441"/>
                  <a:gd name="T61" fmla="*/ 283 h 441"/>
                  <a:gd name="T62" fmla="*/ 434 w 441"/>
                  <a:gd name="T63" fmla="*/ 240 h 441"/>
                  <a:gd name="T64" fmla="*/ 356 w 441"/>
                  <a:gd name="T65" fmla="*/ 256 h 441"/>
                  <a:gd name="T66" fmla="*/ 284 w 441"/>
                  <a:gd name="T67" fmla="*/ 213 h 441"/>
                  <a:gd name="T68" fmla="*/ 361 w 441"/>
                  <a:gd name="T69" fmla="*/ 220 h 441"/>
                  <a:gd name="T70" fmla="*/ 275 w 441"/>
                  <a:gd name="T71" fmla="*/ 335 h 441"/>
                  <a:gd name="T72" fmla="*/ 335 w 441"/>
                  <a:gd name="T73" fmla="*/ 276 h 441"/>
                  <a:gd name="T74" fmla="*/ 178 w 441"/>
                  <a:gd name="T75" fmla="*/ 341 h 441"/>
                  <a:gd name="T76" fmla="*/ 263 w 441"/>
                  <a:gd name="T77" fmla="*/ 341 h 441"/>
                  <a:gd name="T78" fmla="*/ 185 w 441"/>
                  <a:gd name="T79" fmla="*/ 358 h 441"/>
                  <a:gd name="T80" fmla="*/ 186 w 441"/>
                  <a:gd name="T81" fmla="*/ 220 h 441"/>
                  <a:gd name="T82" fmla="*/ 221 w 441"/>
                  <a:gd name="T83" fmla="*/ 255 h 441"/>
                  <a:gd name="T84" fmla="*/ 106 w 441"/>
                  <a:gd name="T85" fmla="*/ 277 h 441"/>
                  <a:gd name="T86" fmla="*/ 165 w 441"/>
                  <a:gd name="T87" fmla="*/ 337 h 441"/>
                  <a:gd name="T88" fmla="*/ 100 w 441"/>
                  <a:gd name="T89" fmla="*/ 180 h 441"/>
                  <a:gd name="T90" fmla="*/ 100 w 441"/>
                  <a:gd name="T91" fmla="*/ 264 h 441"/>
                  <a:gd name="T92" fmla="*/ 83 w 441"/>
                  <a:gd name="T93" fmla="*/ 187 h 441"/>
                  <a:gd name="T94" fmla="*/ 148 w 441"/>
                  <a:gd name="T95" fmla="*/ 100 h 441"/>
                  <a:gd name="T96" fmla="*/ 168 w 441"/>
                  <a:gd name="T97" fmla="*/ 182 h 441"/>
                  <a:gd name="T98" fmla="*/ 119 w 441"/>
                  <a:gd name="T99" fmla="*/ 122 h 441"/>
                  <a:gd name="T100" fmla="*/ 211 w 441"/>
                  <a:gd name="T101" fmla="*/ 157 h 441"/>
                  <a:gd name="T102" fmla="*/ 219 w 441"/>
                  <a:gd name="T103" fmla="*/ 80 h 441"/>
                  <a:gd name="T104" fmla="*/ 319 w 441"/>
                  <a:gd name="T105" fmla="*/ 121 h 441"/>
                  <a:gd name="T106" fmla="*/ 270 w 441"/>
                  <a:gd name="T107" fmla="*/ 181 h 441"/>
                  <a:gd name="T108" fmla="*/ 290 w 441"/>
                  <a:gd name="T109" fmla="*/ 99 h 4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441" h="441">
                    <a:moveTo>
                      <a:pt x="441" y="232"/>
                    </a:moveTo>
                    <a:cubicBezTo>
                      <a:pt x="441" y="209"/>
                      <a:pt x="441" y="209"/>
                      <a:pt x="441" y="209"/>
                    </a:cubicBezTo>
                    <a:cubicBezTo>
                      <a:pt x="441" y="205"/>
                      <a:pt x="438" y="201"/>
                      <a:pt x="434" y="201"/>
                    </a:cubicBezTo>
                    <a:cubicBezTo>
                      <a:pt x="401" y="196"/>
                      <a:pt x="401" y="196"/>
                      <a:pt x="401" y="196"/>
                    </a:cubicBezTo>
                    <a:cubicBezTo>
                      <a:pt x="400" y="188"/>
                      <a:pt x="398" y="181"/>
                      <a:pt x="396" y="173"/>
                    </a:cubicBezTo>
                    <a:cubicBezTo>
                      <a:pt x="425" y="156"/>
                      <a:pt x="425" y="156"/>
                      <a:pt x="425" y="156"/>
                    </a:cubicBezTo>
                    <a:cubicBezTo>
                      <a:pt x="428" y="154"/>
                      <a:pt x="430" y="149"/>
                      <a:pt x="428" y="145"/>
                    </a:cubicBezTo>
                    <a:cubicBezTo>
                      <a:pt x="420" y="125"/>
                      <a:pt x="420" y="125"/>
                      <a:pt x="420" y="125"/>
                    </a:cubicBezTo>
                    <a:cubicBezTo>
                      <a:pt x="418" y="121"/>
                      <a:pt x="414" y="119"/>
                      <a:pt x="410" y="120"/>
                    </a:cubicBezTo>
                    <a:cubicBezTo>
                      <a:pt x="377" y="128"/>
                      <a:pt x="377" y="128"/>
                      <a:pt x="377" y="128"/>
                    </a:cubicBezTo>
                    <a:cubicBezTo>
                      <a:pt x="374" y="122"/>
                      <a:pt x="370" y="116"/>
                      <a:pt x="365" y="110"/>
                    </a:cubicBezTo>
                    <a:cubicBezTo>
                      <a:pt x="385" y="84"/>
                      <a:pt x="385" y="84"/>
                      <a:pt x="385" y="84"/>
                    </a:cubicBezTo>
                    <a:cubicBezTo>
                      <a:pt x="388" y="80"/>
                      <a:pt x="387" y="75"/>
                      <a:pt x="385" y="72"/>
                    </a:cubicBezTo>
                    <a:cubicBezTo>
                      <a:pt x="369" y="56"/>
                      <a:pt x="369" y="56"/>
                      <a:pt x="369" y="56"/>
                    </a:cubicBezTo>
                    <a:cubicBezTo>
                      <a:pt x="366" y="54"/>
                      <a:pt x="361" y="53"/>
                      <a:pt x="357" y="56"/>
                    </a:cubicBezTo>
                    <a:cubicBezTo>
                      <a:pt x="331" y="76"/>
                      <a:pt x="331" y="76"/>
                      <a:pt x="331" y="76"/>
                    </a:cubicBezTo>
                    <a:cubicBezTo>
                      <a:pt x="325" y="71"/>
                      <a:pt x="318" y="67"/>
                      <a:pt x="311" y="63"/>
                    </a:cubicBezTo>
                    <a:cubicBezTo>
                      <a:pt x="320" y="30"/>
                      <a:pt x="320" y="30"/>
                      <a:pt x="320" y="30"/>
                    </a:cubicBezTo>
                    <a:cubicBezTo>
                      <a:pt x="321" y="26"/>
                      <a:pt x="318" y="22"/>
                      <a:pt x="314" y="20"/>
                    </a:cubicBezTo>
                    <a:cubicBezTo>
                      <a:pt x="294" y="12"/>
                      <a:pt x="294" y="12"/>
                      <a:pt x="294" y="12"/>
                    </a:cubicBezTo>
                    <a:cubicBezTo>
                      <a:pt x="290" y="10"/>
                      <a:pt x="285" y="12"/>
                      <a:pt x="283" y="16"/>
                    </a:cubicBezTo>
                    <a:cubicBezTo>
                      <a:pt x="266" y="44"/>
                      <a:pt x="266" y="44"/>
                      <a:pt x="266" y="44"/>
                    </a:cubicBezTo>
                    <a:cubicBezTo>
                      <a:pt x="259" y="43"/>
                      <a:pt x="252" y="41"/>
                      <a:pt x="245" y="40"/>
                    </a:cubicBezTo>
                    <a:cubicBezTo>
                      <a:pt x="240" y="7"/>
                      <a:pt x="240" y="7"/>
                      <a:pt x="240" y="7"/>
                    </a:cubicBezTo>
                    <a:cubicBezTo>
                      <a:pt x="240" y="3"/>
                      <a:pt x="236" y="0"/>
                      <a:pt x="232" y="0"/>
                    </a:cubicBezTo>
                    <a:cubicBezTo>
                      <a:pt x="209" y="0"/>
                      <a:pt x="209" y="0"/>
                      <a:pt x="209" y="0"/>
                    </a:cubicBezTo>
                    <a:cubicBezTo>
                      <a:pt x="205" y="0"/>
                      <a:pt x="201" y="3"/>
                      <a:pt x="201" y="7"/>
                    </a:cubicBezTo>
                    <a:cubicBezTo>
                      <a:pt x="196" y="40"/>
                      <a:pt x="196" y="40"/>
                      <a:pt x="196" y="40"/>
                    </a:cubicBezTo>
                    <a:cubicBezTo>
                      <a:pt x="188" y="41"/>
                      <a:pt x="181" y="43"/>
                      <a:pt x="173" y="45"/>
                    </a:cubicBezTo>
                    <a:cubicBezTo>
                      <a:pt x="156" y="16"/>
                      <a:pt x="156" y="16"/>
                      <a:pt x="156" y="16"/>
                    </a:cubicBezTo>
                    <a:cubicBezTo>
                      <a:pt x="154" y="13"/>
                      <a:pt x="149" y="11"/>
                      <a:pt x="145" y="13"/>
                    </a:cubicBezTo>
                    <a:cubicBezTo>
                      <a:pt x="125" y="21"/>
                      <a:pt x="125" y="21"/>
                      <a:pt x="125" y="21"/>
                    </a:cubicBezTo>
                    <a:cubicBezTo>
                      <a:pt x="121" y="23"/>
                      <a:pt x="119" y="27"/>
                      <a:pt x="120" y="31"/>
                    </a:cubicBezTo>
                    <a:cubicBezTo>
                      <a:pt x="128" y="64"/>
                      <a:pt x="128" y="64"/>
                      <a:pt x="128" y="64"/>
                    </a:cubicBezTo>
                    <a:cubicBezTo>
                      <a:pt x="122" y="67"/>
                      <a:pt x="116" y="71"/>
                      <a:pt x="111" y="76"/>
                    </a:cubicBezTo>
                    <a:cubicBezTo>
                      <a:pt x="84" y="56"/>
                      <a:pt x="84" y="56"/>
                      <a:pt x="84" y="56"/>
                    </a:cubicBezTo>
                    <a:cubicBezTo>
                      <a:pt x="80" y="53"/>
                      <a:pt x="75" y="54"/>
                      <a:pt x="72" y="56"/>
                    </a:cubicBezTo>
                    <a:cubicBezTo>
                      <a:pt x="57" y="72"/>
                      <a:pt x="57" y="72"/>
                      <a:pt x="57" y="72"/>
                    </a:cubicBezTo>
                    <a:cubicBezTo>
                      <a:pt x="54" y="75"/>
                      <a:pt x="53" y="80"/>
                      <a:pt x="56" y="84"/>
                    </a:cubicBezTo>
                    <a:cubicBezTo>
                      <a:pt x="76" y="110"/>
                      <a:pt x="76" y="110"/>
                      <a:pt x="76" y="110"/>
                    </a:cubicBezTo>
                    <a:cubicBezTo>
                      <a:pt x="71" y="117"/>
                      <a:pt x="67" y="123"/>
                      <a:pt x="63" y="130"/>
                    </a:cubicBezTo>
                    <a:cubicBezTo>
                      <a:pt x="31" y="122"/>
                      <a:pt x="31" y="122"/>
                      <a:pt x="31" y="122"/>
                    </a:cubicBezTo>
                    <a:cubicBezTo>
                      <a:pt x="27" y="121"/>
                      <a:pt x="22" y="123"/>
                      <a:pt x="20" y="127"/>
                    </a:cubicBezTo>
                    <a:cubicBezTo>
                      <a:pt x="12" y="147"/>
                      <a:pt x="12" y="147"/>
                      <a:pt x="12" y="147"/>
                    </a:cubicBezTo>
                    <a:cubicBezTo>
                      <a:pt x="10" y="151"/>
                      <a:pt x="12" y="156"/>
                      <a:pt x="16" y="158"/>
                    </a:cubicBezTo>
                    <a:cubicBezTo>
                      <a:pt x="45" y="175"/>
                      <a:pt x="45" y="175"/>
                      <a:pt x="45" y="175"/>
                    </a:cubicBezTo>
                    <a:cubicBezTo>
                      <a:pt x="43" y="182"/>
                      <a:pt x="41" y="189"/>
                      <a:pt x="40" y="196"/>
                    </a:cubicBezTo>
                    <a:cubicBezTo>
                      <a:pt x="7" y="201"/>
                      <a:pt x="7" y="201"/>
                      <a:pt x="7" y="201"/>
                    </a:cubicBezTo>
                    <a:cubicBezTo>
                      <a:pt x="3" y="201"/>
                      <a:pt x="0" y="205"/>
                      <a:pt x="0" y="209"/>
                    </a:cubicBezTo>
                    <a:cubicBezTo>
                      <a:pt x="0" y="232"/>
                      <a:pt x="0" y="232"/>
                      <a:pt x="0" y="232"/>
                    </a:cubicBezTo>
                    <a:cubicBezTo>
                      <a:pt x="0" y="236"/>
                      <a:pt x="3" y="240"/>
                      <a:pt x="7" y="240"/>
                    </a:cubicBezTo>
                    <a:cubicBezTo>
                      <a:pt x="40" y="245"/>
                      <a:pt x="40" y="245"/>
                      <a:pt x="40" y="245"/>
                    </a:cubicBezTo>
                    <a:cubicBezTo>
                      <a:pt x="42" y="253"/>
                      <a:pt x="43" y="260"/>
                      <a:pt x="45" y="268"/>
                    </a:cubicBezTo>
                    <a:cubicBezTo>
                      <a:pt x="16" y="285"/>
                      <a:pt x="16" y="285"/>
                      <a:pt x="16" y="285"/>
                    </a:cubicBezTo>
                    <a:cubicBezTo>
                      <a:pt x="13" y="287"/>
                      <a:pt x="11" y="292"/>
                      <a:pt x="13" y="296"/>
                    </a:cubicBezTo>
                    <a:cubicBezTo>
                      <a:pt x="21" y="316"/>
                      <a:pt x="21" y="316"/>
                      <a:pt x="21" y="316"/>
                    </a:cubicBezTo>
                    <a:cubicBezTo>
                      <a:pt x="23" y="320"/>
                      <a:pt x="28" y="322"/>
                      <a:pt x="32" y="321"/>
                    </a:cubicBezTo>
                    <a:cubicBezTo>
                      <a:pt x="64" y="313"/>
                      <a:pt x="64" y="313"/>
                      <a:pt x="64" y="313"/>
                    </a:cubicBezTo>
                    <a:cubicBezTo>
                      <a:pt x="68" y="319"/>
                      <a:pt x="72" y="325"/>
                      <a:pt x="76" y="331"/>
                    </a:cubicBezTo>
                    <a:cubicBezTo>
                      <a:pt x="56" y="357"/>
                      <a:pt x="56" y="357"/>
                      <a:pt x="56" y="357"/>
                    </a:cubicBezTo>
                    <a:cubicBezTo>
                      <a:pt x="53" y="361"/>
                      <a:pt x="54" y="366"/>
                      <a:pt x="57" y="369"/>
                    </a:cubicBezTo>
                    <a:cubicBezTo>
                      <a:pt x="72" y="384"/>
                      <a:pt x="72" y="384"/>
                      <a:pt x="72" y="384"/>
                    </a:cubicBezTo>
                    <a:cubicBezTo>
                      <a:pt x="75" y="387"/>
                      <a:pt x="80" y="388"/>
                      <a:pt x="84" y="385"/>
                    </a:cubicBezTo>
                    <a:cubicBezTo>
                      <a:pt x="111" y="365"/>
                      <a:pt x="111" y="365"/>
                      <a:pt x="111" y="365"/>
                    </a:cubicBezTo>
                    <a:cubicBezTo>
                      <a:pt x="117" y="370"/>
                      <a:pt x="123" y="374"/>
                      <a:pt x="130" y="378"/>
                    </a:cubicBezTo>
                    <a:cubicBezTo>
                      <a:pt x="122" y="411"/>
                      <a:pt x="122" y="411"/>
                      <a:pt x="122" y="411"/>
                    </a:cubicBezTo>
                    <a:cubicBezTo>
                      <a:pt x="121" y="415"/>
                      <a:pt x="123" y="419"/>
                      <a:pt x="127" y="421"/>
                    </a:cubicBezTo>
                    <a:cubicBezTo>
                      <a:pt x="147" y="429"/>
                      <a:pt x="147" y="429"/>
                      <a:pt x="147" y="429"/>
                    </a:cubicBezTo>
                    <a:cubicBezTo>
                      <a:pt x="151" y="431"/>
                      <a:pt x="156" y="429"/>
                      <a:pt x="158" y="425"/>
                    </a:cubicBezTo>
                    <a:cubicBezTo>
                      <a:pt x="175" y="397"/>
                      <a:pt x="175" y="397"/>
                      <a:pt x="175" y="397"/>
                    </a:cubicBezTo>
                    <a:cubicBezTo>
                      <a:pt x="182" y="398"/>
                      <a:pt x="189" y="400"/>
                      <a:pt x="196" y="401"/>
                    </a:cubicBezTo>
                    <a:cubicBezTo>
                      <a:pt x="201" y="434"/>
                      <a:pt x="201" y="434"/>
                      <a:pt x="201" y="434"/>
                    </a:cubicBezTo>
                    <a:cubicBezTo>
                      <a:pt x="201" y="438"/>
                      <a:pt x="205" y="441"/>
                      <a:pt x="209" y="441"/>
                    </a:cubicBezTo>
                    <a:cubicBezTo>
                      <a:pt x="232" y="441"/>
                      <a:pt x="232" y="441"/>
                      <a:pt x="232" y="441"/>
                    </a:cubicBezTo>
                    <a:cubicBezTo>
                      <a:pt x="236" y="441"/>
                      <a:pt x="240" y="438"/>
                      <a:pt x="240" y="434"/>
                    </a:cubicBezTo>
                    <a:cubicBezTo>
                      <a:pt x="245" y="401"/>
                      <a:pt x="245" y="401"/>
                      <a:pt x="245" y="401"/>
                    </a:cubicBezTo>
                    <a:cubicBezTo>
                      <a:pt x="253" y="400"/>
                      <a:pt x="260" y="398"/>
                      <a:pt x="268" y="396"/>
                    </a:cubicBezTo>
                    <a:cubicBezTo>
                      <a:pt x="285" y="425"/>
                      <a:pt x="285" y="425"/>
                      <a:pt x="285" y="425"/>
                    </a:cubicBezTo>
                    <a:cubicBezTo>
                      <a:pt x="287" y="428"/>
                      <a:pt x="292" y="430"/>
                      <a:pt x="296" y="428"/>
                    </a:cubicBezTo>
                    <a:cubicBezTo>
                      <a:pt x="316" y="420"/>
                      <a:pt x="316" y="420"/>
                      <a:pt x="316" y="420"/>
                    </a:cubicBezTo>
                    <a:cubicBezTo>
                      <a:pt x="320" y="418"/>
                      <a:pt x="322" y="414"/>
                      <a:pt x="321" y="410"/>
                    </a:cubicBezTo>
                    <a:cubicBezTo>
                      <a:pt x="313" y="377"/>
                      <a:pt x="313" y="377"/>
                      <a:pt x="313" y="377"/>
                    </a:cubicBezTo>
                    <a:cubicBezTo>
                      <a:pt x="319" y="373"/>
                      <a:pt x="325" y="369"/>
                      <a:pt x="331" y="365"/>
                    </a:cubicBezTo>
                    <a:cubicBezTo>
                      <a:pt x="357" y="385"/>
                      <a:pt x="357" y="385"/>
                      <a:pt x="357" y="385"/>
                    </a:cubicBezTo>
                    <a:cubicBezTo>
                      <a:pt x="361" y="388"/>
                      <a:pt x="366" y="387"/>
                      <a:pt x="369" y="384"/>
                    </a:cubicBezTo>
                    <a:cubicBezTo>
                      <a:pt x="385" y="369"/>
                      <a:pt x="385" y="369"/>
                      <a:pt x="385" y="369"/>
                    </a:cubicBezTo>
                    <a:cubicBezTo>
                      <a:pt x="387" y="366"/>
                      <a:pt x="388" y="361"/>
                      <a:pt x="385" y="357"/>
                    </a:cubicBezTo>
                    <a:cubicBezTo>
                      <a:pt x="365" y="331"/>
                      <a:pt x="365" y="331"/>
                      <a:pt x="365" y="331"/>
                    </a:cubicBezTo>
                    <a:cubicBezTo>
                      <a:pt x="370" y="324"/>
                      <a:pt x="374" y="318"/>
                      <a:pt x="378" y="311"/>
                    </a:cubicBezTo>
                    <a:cubicBezTo>
                      <a:pt x="411" y="319"/>
                      <a:pt x="411" y="319"/>
                      <a:pt x="411" y="319"/>
                    </a:cubicBezTo>
                    <a:cubicBezTo>
                      <a:pt x="415" y="320"/>
                      <a:pt x="419" y="318"/>
                      <a:pt x="421" y="314"/>
                    </a:cubicBezTo>
                    <a:cubicBezTo>
                      <a:pt x="429" y="294"/>
                      <a:pt x="429" y="294"/>
                      <a:pt x="429" y="294"/>
                    </a:cubicBezTo>
                    <a:cubicBezTo>
                      <a:pt x="431" y="290"/>
                      <a:pt x="429" y="285"/>
                      <a:pt x="426" y="283"/>
                    </a:cubicBezTo>
                    <a:cubicBezTo>
                      <a:pt x="397" y="266"/>
                      <a:pt x="397" y="266"/>
                      <a:pt x="397" y="266"/>
                    </a:cubicBezTo>
                    <a:cubicBezTo>
                      <a:pt x="398" y="259"/>
                      <a:pt x="400" y="252"/>
                      <a:pt x="401" y="245"/>
                    </a:cubicBezTo>
                    <a:cubicBezTo>
                      <a:pt x="434" y="240"/>
                      <a:pt x="434" y="240"/>
                      <a:pt x="434" y="240"/>
                    </a:cubicBezTo>
                    <a:cubicBezTo>
                      <a:pt x="438" y="240"/>
                      <a:pt x="441" y="236"/>
                      <a:pt x="441" y="232"/>
                    </a:cubicBezTo>
                    <a:close/>
                    <a:moveTo>
                      <a:pt x="361" y="220"/>
                    </a:moveTo>
                    <a:cubicBezTo>
                      <a:pt x="361" y="238"/>
                      <a:pt x="356" y="256"/>
                      <a:pt x="356" y="256"/>
                    </a:cubicBezTo>
                    <a:cubicBezTo>
                      <a:pt x="354" y="264"/>
                      <a:pt x="346" y="267"/>
                      <a:pt x="339" y="263"/>
                    </a:cubicBezTo>
                    <a:cubicBezTo>
                      <a:pt x="284" y="228"/>
                      <a:pt x="284" y="228"/>
                      <a:pt x="284" y="228"/>
                    </a:cubicBezTo>
                    <a:cubicBezTo>
                      <a:pt x="277" y="224"/>
                      <a:pt x="277" y="217"/>
                      <a:pt x="284" y="213"/>
                    </a:cubicBezTo>
                    <a:cubicBezTo>
                      <a:pt x="339" y="178"/>
                      <a:pt x="339" y="178"/>
                      <a:pt x="339" y="178"/>
                    </a:cubicBezTo>
                    <a:cubicBezTo>
                      <a:pt x="346" y="174"/>
                      <a:pt x="354" y="177"/>
                      <a:pt x="356" y="185"/>
                    </a:cubicBezTo>
                    <a:cubicBezTo>
                      <a:pt x="356" y="185"/>
                      <a:pt x="361" y="203"/>
                      <a:pt x="361" y="220"/>
                    </a:cubicBezTo>
                    <a:close/>
                    <a:moveTo>
                      <a:pt x="321" y="321"/>
                    </a:moveTo>
                    <a:cubicBezTo>
                      <a:pt x="308" y="333"/>
                      <a:pt x="292" y="343"/>
                      <a:pt x="292" y="343"/>
                    </a:cubicBezTo>
                    <a:cubicBezTo>
                      <a:pt x="285" y="347"/>
                      <a:pt x="277" y="343"/>
                      <a:pt x="275" y="335"/>
                    </a:cubicBezTo>
                    <a:cubicBezTo>
                      <a:pt x="260" y="272"/>
                      <a:pt x="260" y="272"/>
                      <a:pt x="260" y="272"/>
                    </a:cubicBezTo>
                    <a:cubicBezTo>
                      <a:pt x="258" y="264"/>
                      <a:pt x="263" y="259"/>
                      <a:pt x="271" y="260"/>
                    </a:cubicBezTo>
                    <a:cubicBezTo>
                      <a:pt x="335" y="276"/>
                      <a:pt x="335" y="276"/>
                      <a:pt x="335" y="276"/>
                    </a:cubicBezTo>
                    <a:cubicBezTo>
                      <a:pt x="343" y="278"/>
                      <a:pt x="346" y="285"/>
                      <a:pt x="342" y="292"/>
                    </a:cubicBezTo>
                    <a:cubicBezTo>
                      <a:pt x="342" y="292"/>
                      <a:pt x="333" y="309"/>
                      <a:pt x="321" y="321"/>
                    </a:cubicBezTo>
                    <a:close/>
                    <a:moveTo>
                      <a:pt x="178" y="341"/>
                    </a:moveTo>
                    <a:cubicBezTo>
                      <a:pt x="213" y="285"/>
                      <a:pt x="213" y="285"/>
                      <a:pt x="213" y="285"/>
                    </a:cubicBezTo>
                    <a:cubicBezTo>
                      <a:pt x="217" y="278"/>
                      <a:pt x="224" y="278"/>
                      <a:pt x="228" y="285"/>
                    </a:cubicBezTo>
                    <a:cubicBezTo>
                      <a:pt x="263" y="341"/>
                      <a:pt x="263" y="341"/>
                      <a:pt x="263" y="341"/>
                    </a:cubicBezTo>
                    <a:cubicBezTo>
                      <a:pt x="267" y="348"/>
                      <a:pt x="264" y="356"/>
                      <a:pt x="256" y="358"/>
                    </a:cubicBezTo>
                    <a:cubicBezTo>
                      <a:pt x="256" y="358"/>
                      <a:pt x="238" y="363"/>
                      <a:pt x="221" y="363"/>
                    </a:cubicBezTo>
                    <a:cubicBezTo>
                      <a:pt x="203" y="363"/>
                      <a:pt x="185" y="358"/>
                      <a:pt x="185" y="358"/>
                    </a:cubicBezTo>
                    <a:cubicBezTo>
                      <a:pt x="177" y="356"/>
                      <a:pt x="174" y="348"/>
                      <a:pt x="178" y="341"/>
                    </a:cubicBezTo>
                    <a:close/>
                    <a:moveTo>
                      <a:pt x="221" y="255"/>
                    </a:moveTo>
                    <a:cubicBezTo>
                      <a:pt x="202" y="255"/>
                      <a:pt x="186" y="240"/>
                      <a:pt x="186" y="220"/>
                    </a:cubicBezTo>
                    <a:cubicBezTo>
                      <a:pt x="186" y="201"/>
                      <a:pt x="202" y="186"/>
                      <a:pt x="221" y="186"/>
                    </a:cubicBezTo>
                    <a:cubicBezTo>
                      <a:pt x="240" y="186"/>
                      <a:pt x="255" y="201"/>
                      <a:pt x="255" y="220"/>
                    </a:cubicBezTo>
                    <a:cubicBezTo>
                      <a:pt x="255" y="240"/>
                      <a:pt x="240" y="255"/>
                      <a:pt x="221" y="255"/>
                    </a:cubicBezTo>
                    <a:close/>
                    <a:moveTo>
                      <a:pt x="120" y="322"/>
                    </a:moveTo>
                    <a:cubicBezTo>
                      <a:pt x="108" y="310"/>
                      <a:pt x="99" y="294"/>
                      <a:pt x="99" y="294"/>
                    </a:cubicBezTo>
                    <a:cubicBezTo>
                      <a:pt x="95" y="286"/>
                      <a:pt x="98" y="279"/>
                      <a:pt x="106" y="277"/>
                    </a:cubicBezTo>
                    <a:cubicBezTo>
                      <a:pt x="170" y="262"/>
                      <a:pt x="170" y="262"/>
                      <a:pt x="170" y="262"/>
                    </a:cubicBezTo>
                    <a:cubicBezTo>
                      <a:pt x="178" y="260"/>
                      <a:pt x="182" y="265"/>
                      <a:pt x="181" y="273"/>
                    </a:cubicBezTo>
                    <a:cubicBezTo>
                      <a:pt x="165" y="337"/>
                      <a:pt x="165" y="337"/>
                      <a:pt x="165" y="337"/>
                    </a:cubicBezTo>
                    <a:cubicBezTo>
                      <a:pt x="163" y="345"/>
                      <a:pt x="156" y="348"/>
                      <a:pt x="149" y="344"/>
                    </a:cubicBezTo>
                    <a:cubicBezTo>
                      <a:pt x="149" y="344"/>
                      <a:pt x="133" y="335"/>
                      <a:pt x="120" y="322"/>
                    </a:cubicBezTo>
                    <a:close/>
                    <a:moveTo>
                      <a:pt x="100" y="180"/>
                    </a:moveTo>
                    <a:cubicBezTo>
                      <a:pt x="156" y="215"/>
                      <a:pt x="156" y="215"/>
                      <a:pt x="156" y="215"/>
                    </a:cubicBezTo>
                    <a:cubicBezTo>
                      <a:pt x="163" y="219"/>
                      <a:pt x="163" y="226"/>
                      <a:pt x="156" y="230"/>
                    </a:cubicBezTo>
                    <a:cubicBezTo>
                      <a:pt x="100" y="264"/>
                      <a:pt x="100" y="264"/>
                      <a:pt x="100" y="264"/>
                    </a:cubicBezTo>
                    <a:cubicBezTo>
                      <a:pt x="93" y="269"/>
                      <a:pt x="85" y="266"/>
                      <a:pt x="83" y="258"/>
                    </a:cubicBezTo>
                    <a:cubicBezTo>
                      <a:pt x="83" y="258"/>
                      <a:pt x="78" y="240"/>
                      <a:pt x="78" y="222"/>
                    </a:cubicBezTo>
                    <a:cubicBezTo>
                      <a:pt x="78" y="205"/>
                      <a:pt x="83" y="187"/>
                      <a:pt x="83" y="187"/>
                    </a:cubicBezTo>
                    <a:cubicBezTo>
                      <a:pt x="85" y="179"/>
                      <a:pt x="93" y="176"/>
                      <a:pt x="100" y="180"/>
                    </a:cubicBezTo>
                    <a:close/>
                    <a:moveTo>
                      <a:pt x="119" y="122"/>
                    </a:moveTo>
                    <a:cubicBezTo>
                      <a:pt x="131" y="109"/>
                      <a:pt x="148" y="100"/>
                      <a:pt x="148" y="100"/>
                    </a:cubicBezTo>
                    <a:cubicBezTo>
                      <a:pt x="155" y="96"/>
                      <a:pt x="162" y="100"/>
                      <a:pt x="164" y="108"/>
                    </a:cubicBezTo>
                    <a:cubicBezTo>
                      <a:pt x="179" y="171"/>
                      <a:pt x="179" y="171"/>
                      <a:pt x="179" y="171"/>
                    </a:cubicBezTo>
                    <a:cubicBezTo>
                      <a:pt x="181" y="179"/>
                      <a:pt x="176" y="184"/>
                      <a:pt x="168" y="182"/>
                    </a:cubicBezTo>
                    <a:cubicBezTo>
                      <a:pt x="104" y="167"/>
                      <a:pt x="104" y="167"/>
                      <a:pt x="104" y="167"/>
                    </a:cubicBezTo>
                    <a:cubicBezTo>
                      <a:pt x="96" y="165"/>
                      <a:pt x="93" y="158"/>
                      <a:pt x="97" y="151"/>
                    </a:cubicBezTo>
                    <a:cubicBezTo>
                      <a:pt x="97" y="151"/>
                      <a:pt x="106" y="134"/>
                      <a:pt x="119" y="122"/>
                    </a:cubicBezTo>
                    <a:close/>
                    <a:moveTo>
                      <a:pt x="261" y="102"/>
                    </a:moveTo>
                    <a:cubicBezTo>
                      <a:pt x="227" y="157"/>
                      <a:pt x="227" y="157"/>
                      <a:pt x="227" y="157"/>
                    </a:cubicBezTo>
                    <a:cubicBezTo>
                      <a:pt x="222" y="164"/>
                      <a:pt x="215" y="164"/>
                      <a:pt x="211" y="157"/>
                    </a:cubicBezTo>
                    <a:cubicBezTo>
                      <a:pt x="177" y="102"/>
                      <a:pt x="177" y="102"/>
                      <a:pt x="177" y="102"/>
                    </a:cubicBezTo>
                    <a:cubicBezTo>
                      <a:pt x="172" y="95"/>
                      <a:pt x="175" y="87"/>
                      <a:pt x="183" y="85"/>
                    </a:cubicBezTo>
                    <a:cubicBezTo>
                      <a:pt x="183" y="85"/>
                      <a:pt x="201" y="80"/>
                      <a:pt x="219" y="80"/>
                    </a:cubicBezTo>
                    <a:cubicBezTo>
                      <a:pt x="236" y="80"/>
                      <a:pt x="254" y="85"/>
                      <a:pt x="254" y="85"/>
                    </a:cubicBezTo>
                    <a:cubicBezTo>
                      <a:pt x="262" y="87"/>
                      <a:pt x="265" y="95"/>
                      <a:pt x="261" y="102"/>
                    </a:cubicBezTo>
                    <a:close/>
                    <a:moveTo>
                      <a:pt x="319" y="121"/>
                    </a:moveTo>
                    <a:cubicBezTo>
                      <a:pt x="332" y="133"/>
                      <a:pt x="341" y="149"/>
                      <a:pt x="341" y="149"/>
                    </a:cubicBezTo>
                    <a:cubicBezTo>
                      <a:pt x="345" y="156"/>
                      <a:pt x="342" y="164"/>
                      <a:pt x="334" y="166"/>
                    </a:cubicBezTo>
                    <a:cubicBezTo>
                      <a:pt x="270" y="181"/>
                      <a:pt x="270" y="181"/>
                      <a:pt x="270" y="181"/>
                    </a:cubicBezTo>
                    <a:cubicBezTo>
                      <a:pt x="262" y="183"/>
                      <a:pt x="257" y="178"/>
                      <a:pt x="259" y="170"/>
                    </a:cubicBezTo>
                    <a:cubicBezTo>
                      <a:pt x="274" y="106"/>
                      <a:pt x="274" y="106"/>
                      <a:pt x="274" y="106"/>
                    </a:cubicBezTo>
                    <a:cubicBezTo>
                      <a:pt x="276" y="98"/>
                      <a:pt x="283" y="95"/>
                      <a:pt x="290" y="99"/>
                    </a:cubicBezTo>
                    <a:cubicBezTo>
                      <a:pt x="290" y="99"/>
                      <a:pt x="307" y="108"/>
                      <a:pt x="319" y="121"/>
                    </a:cubicBezTo>
                    <a:close/>
                  </a:path>
                </a:pathLst>
              </a:custGeom>
              <a:solidFill>
                <a:srgbClr val="FFB90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55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53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6" name="Freeform 8"/>
              <p:cNvSpPr>
                <a:spLocks/>
              </p:cNvSpPr>
              <p:nvPr userDrawn="1"/>
            </p:nvSpPr>
            <p:spPr bwMode="auto">
              <a:xfrm>
                <a:off x="8040688" y="7580313"/>
                <a:ext cx="2109787" cy="2235200"/>
              </a:xfrm>
              <a:custGeom>
                <a:avLst/>
                <a:gdLst>
                  <a:gd name="T0" fmla="*/ 516 w 601"/>
                  <a:gd name="T1" fmla="*/ 0 h 635"/>
                  <a:gd name="T2" fmla="*/ 296 w 601"/>
                  <a:gd name="T3" fmla="*/ 208 h 635"/>
                  <a:gd name="T4" fmla="*/ 220 w 601"/>
                  <a:gd name="T5" fmla="*/ 195 h 635"/>
                  <a:gd name="T6" fmla="*/ 0 w 601"/>
                  <a:gd name="T7" fmla="*/ 415 h 635"/>
                  <a:gd name="T8" fmla="*/ 220 w 601"/>
                  <a:gd name="T9" fmla="*/ 635 h 635"/>
                  <a:gd name="T10" fmla="*/ 601 w 601"/>
                  <a:gd name="T11" fmla="*/ 635 h 635"/>
                  <a:gd name="T12" fmla="*/ 601 w 601"/>
                  <a:gd name="T13" fmla="*/ 17 h 635"/>
                  <a:gd name="T14" fmla="*/ 516 w 601"/>
                  <a:gd name="T15" fmla="*/ 0 h 6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01" h="635">
                    <a:moveTo>
                      <a:pt x="516" y="0"/>
                    </a:moveTo>
                    <a:cubicBezTo>
                      <a:pt x="398" y="0"/>
                      <a:pt x="302" y="92"/>
                      <a:pt x="296" y="208"/>
                    </a:cubicBezTo>
                    <a:cubicBezTo>
                      <a:pt x="272" y="200"/>
                      <a:pt x="247" y="195"/>
                      <a:pt x="220" y="195"/>
                    </a:cubicBezTo>
                    <a:cubicBezTo>
                      <a:pt x="99" y="195"/>
                      <a:pt x="0" y="293"/>
                      <a:pt x="0" y="415"/>
                    </a:cubicBezTo>
                    <a:cubicBezTo>
                      <a:pt x="0" y="536"/>
                      <a:pt x="99" y="635"/>
                      <a:pt x="220" y="635"/>
                    </a:cubicBezTo>
                    <a:cubicBezTo>
                      <a:pt x="601" y="635"/>
                      <a:pt x="601" y="635"/>
                      <a:pt x="601" y="635"/>
                    </a:cubicBezTo>
                    <a:cubicBezTo>
                      <a:pt x="601" y="17"/>
                      <a:pt x="601" y="17"/>
                      <a:pt x="601" y="17"/>
                    </a:cubicBezTo>
                    <a:cubicBezTo>
                      <a:pt x="575" y="6"/>
                      <a:pt x="546" y="0"/>
                      <a:pt x="516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55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53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7" name="Freeform 9"/>
              <p:cNvSpPr>
                <a:spLocks/>
              </p:cNvSpPr>
              <p:nvPr userDrawn="1"/>
            </p:nvSpPr>
            <p:spPr bwMode="auto">
              <a:xfrm>
                <a:off x="12195175" y="7151688"/>
                <a:ext cx="2590800" cy="2663825"/>
              </a:xfrm>
              <a:custGeom>
                <a:avLst/>
                <a:gdLst>
                  <a:gd name="T0" fmla="*/ 738 w 738"/>
                  <a:gd name="T1" fmla="*/ 537 h 757"/>
                  <a:gd name="T2" fmla="*/ 518 w 738"/>
                  <a:gd name="T3" fmla="*/ 317 h 757"/>
                  <a:gd name="T4" fmla="*/ 495 w 738"/>
                  <a:gd name="T5" fmla="*/ 318 h 757"/>
                  <a:gd name="T6" fmla="*/ 518 w 738"/>
                  <a:gd name="T7" fmla="*/ 221 h 757"/>
                  <a:gd name="T8" fmla="*/ 297 w 738"/>
                  <a:gd name="T9" fmla="*/ 0 h 757"/>
                  <a:gd name="T10" fmla="*/ 79 w 738"/>
                  <a:gd name="T11" fmla="*/ 194 h 757"/>
                  <a:gd name="T12" fmla="*/ 0 w 738"/>
                  <a:gd name="T13" fmla="*/ 139 h 757"/>
                  <a:gd name="T14" fmla="*/ 0 w 738"/>
                  <a:gd name="T15" fmla="*/ 757 h 757"/>
                  <a:gd name="T16" fmla="*/ 518 w 738"/>
                  <a:gd name="T17" fmla="*/ 757 h 757"/>
                  <a:gd name="T18" fmla="*/ 738 w 738"/>
                  <a:gd name="T19" fmla="*/ 537 h 7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38" h="757">
                    <a:moveTo>
                      <a:pt x="738" y="537"/>
                    </a:moveTo>
                    <a:cubicBezTo>
                      <a:pt x="738" y="415"/>
                      <a:pt x="639" y="317"/>
                      <a:pt x="518" y="317"/>
                    </a:cubicBezTo>
                    <a:cubicBezTo>
                      <a:pt x="510" y="317"/>
                      <a:pt x="502" y="317"/>
                      <a:pt x="495" y="318"/>
                    </a:cubicBezTo>
                    <a:cubicBezTo>
                      <a:pt x="509" y="289"/>
                      <a:pt x="518" y="256"/>
                      <a:pt x="518" y="221"/>
                    </a:cubicBezTo>
                    <a:cubicBezTo>
                      <a:pt x="518" y="99"/>
                      <a:pt x="419" y="0"/>
                      <a:pt x="297" y="0"/>
                    </a:cubicBezTo>
                    <a:cubicBezTo>
                      <a:pt x="185" y="0"/>
                      <a:pt x="92" y="85"/>
                      <a:pt x="79" y="194"/>
                    </a:cubicBezTo>
                    <a:cubicBezTo>
                      <a:pt x="57" y="171"/>
                      <a:pt x="31" y="151"/>
                      <a:pt x="0" y="139"/>
                    </a:cubicBezTo>
                    <a:cubicBezTo>
                      <a:pt x="0" y="757"/>
                      <a:pt x="0" y="757"/>
                      <a:pt x="0" y="757"/>
                    </a:cubicBezTo>
                    <a:cubicBezTo>
                      <a:pt x="518" y="757"/>
                      <a:pt x="518" y="757"/>
                      <a:pt x="518" y="757"/>
                    </a:cubicBezTo>
                    <a:cubicBezTo>
                      <a:pt x="639" y="757"/>
                      <a:pt x="738" y="658"/>
                      <a:pt x="738" y="53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55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53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sp>
          <p:nvSpPr>
            <p:cNvPr id="21" name="Freeform 42"/>
            <p:cNvSpPr>
              <a:spLocks/>
            </p:cNvSpPr>
            <p:nvPr userDrawn="1"/>
          </p:nvSpPr>
          <p:spPr bwMode="auto">
            <a:xfrm>
              <a:off x="8716653" y="1485604"/>
              <a:ext cx="1403969" cy="840253"/>
            </a:xfrm>
            <a:custGeom>
              <a:avLst/>
              <a:gdLst>
                <a:gd name="T0" fmla="*/ 218 w 242"/>
                <a:gd name="T1" fmla="*/ 72 h 145"/>
                <a:gd name="T2" fmla="*/ 178 w 242"/>
                <a:gd name="T3" fmla="*/ 41 h 145"/>
                <a:gd name="T4" fmla="*/ 178 w 242"/>
                <a:gd name="T5" fmla="*/ 41 h 145"/>
                <a:gd name="T6" fmla="*/ 178 w 242"/>
                <a:gd name="T7" fmla="*/ 41 h 145"/>
                <a:gd name="T8" fmla="*/ 137 w 242"/>
                <a:gd name="T9" fmla="*/ 0 h 145"/>
                <a:gd name="T10" fmla="*/ 100 w 242"/>
                <a:gd name="T11" fmla="*/ 21 h 145"/>
                <a:gd name="T12" fmla="*/ 87 w 242"/>
                <a:gd name="T13" fmla="*/ 19 h 145"/>
                <a:gd name="T14" fmla="*/ 49 w 242"/>
                <a:gd name="T15" fmla="*/ 58 h 145"/>
                <a:gd name="T16" fmla="*/ 49 w 242"/>
                <a:gd name="T17" fmla="*/ 58 h 145"/>
                <a:gd name="T18" fmla="*/ 44 w 242"/>
                <a:gd name="T19" fmla="*/ 58 h 145"/>
                <a:gd name="T20" fmla="*/ 0 w 242"/>
                <a:gd name="T21" fmla="*/ 101 h 145"/>
                <a:gd name="T22" fmla="*/ 44 w 242"/>
                <a:gd name="T23" fmla="*/ 145 h 145"/>
                <a:gd name="T24" fmla="*/ 204 w 242"/>
                <a:gd name="T25" fmla="*/ 145 h 145"/>
                <a:gd name="T26" fmla="*/ 242 w 242"/>
                <a:gd name="T27" fmla="*/ 107 h 145"/>
                <a:gd name="T28" fmla="*/ 218 w 242"/>
                <a:gd name="T29" fmla="*/ 72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42" h="145">
                  <a:moveTo>
                    <a:pt x="218" y="72"/>
                  </a:moveTo>
                  <a:cubicBezTo>
                    <a:pt x="213" y="54"/>
                    <a:pt x="197" y="41"/>
                    <a:pt x="178" y="41"/>
                  </a:cubicBezTo>
                  <a:cubicBezTo>
                    <a:pt x="178" y="41"/>
                    <a:pt x="178" y="41"/>
                    <a:pt x="178" y="41"/>
                  </a:cubicBezTo>
                  <a:cubicBezTo>
                    <a:pt x="178" y="41"/>
                    <a:pt x="178" y="41"/>
                    <a:pt x="178" y="41"/>
                  </a:cubicBezTo>
                  <a:cubicBezTo>
                    <a:pt x="178" y="18"/>
                    <a:pt x="159" y="0"/>
                    <a:pt x="137" y="0"/>
                  </a:cubicBezTo>
                  <a:cubicBezTo>
                    <a:pt x="121" y="0"/>
                    <a:pt x="107" y="8"/>
                    <a:pt x="100" y="21"/>
                  </a:cubicBezTo>
                  <a:cubicBezTo>
                    <a:pt x="96" y="20"/>
                    <a:pt x="92" y="19"/>
                    <a:pt x="87" y="19"/>
                  </a:cubicBezTo>
                  <a:cubicBezTo>
                    <a:pt x="66" y="19"/>
                    <a:pt x="49" y="36"/>
                    <a:pt x="49" y="58"/>
                  </a:cubicBezTo>
                  <a:cubicBezTo>
                    <a:pt x="49" y="58"/>
                    <a:pt x="49" y="58"/>
                    <a:pt x="49" y="58"/>
                  </a:cubicBezTo>
                  <a:cubicBezTo>
                    <a:pt x="47" y="58"/>
                    <a:pt x="45" y="58"/>
                    <a:pt x="44" y="58"/>
                  </a:cubicBezTo>
                  <a:cubicBezTo>
                    <a:pt x="19" y="58"/>
                    <a:pt x="0" y="77"/>
                    <a:pt x="0" y="101"/>
                  </a:cubicBezTo>
                  <a:cubicBezTo>
                    <a:pt x="0" y="125"/>
                    <a:pt x="19" y="145"/>
                    <a:pt x="44" y="145"/>
                  </a:cubicBezTo>
                  <a:cubicBezTo>
                    <a:pt x="204" y="145"/>
                    <a:pt x="204" y="145"/>
                    <a:pt x="204" y="145"/>
                  </a:cubicBezTo>
                  <a:cubicBezTo>
                    <a:pt x="225" y="145"/>
                    <a:pt x="242" y="128"/>
                    <a:pt x="242" y="107"/>
                  </a:cubicBezTo>
                  <a:cubicBezTo>
                    <a:pt x="242" y="91"/>
                    <a:pt x="232" y="78"/>
                    <a:pt x="218" y="7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5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" name="Freeform 21"/>
            <p:cNvSpPr>
              <a:spLocks/>
            </p:cNvSpPr>
            <p:nvPr userDrawn="1"/>
          </p:nvSpPr>
          <p:spPr bwMode="auto">
            <a:xfrm flipH="1">
              <a:off x="7542827" y="2325857"/>
              <a:ext cx="731512" cy="297301"/>
            </a:xfrm>
            <a:custGeom>
              <a:avLst/>
              <a:gdLst>
                <a:gd name="T0" fmla="*/ 621 w 696"/>
                <a:gd name="T1" fmla="*/ 132 h 281"/>
                <a:gd name="T2" fmla="*/ 609 w 696"/>
                <a:gd name="T3" fmla="*/ 133 h 281"/>
                <a:gd name="T4" fmla="*/ 469 w 696"/>
                <a:gd name="T5" fmla="*/ 0 h 281"/>
                <a:gd name="T6" fmla="*/ 333 w 696"/>
                <a:gd name="T7" fmla="*/ 104 h 281"/>
                <a:gd name="T8" fmla="*/ 258 w 696"/>
                <a:gd name="T9" fmla="*/ 73 h 281"/>
                <a:gd name="T10" fmla="*/ 155 w 696"/>
                <a:gd name="T11" fmla="*/ 167 h 281"/>
                <a:gd name="T12" fmla="*/ 105 w 696"/>
                <a:gd name="T13" fmla="*/ 190 h 281"/>
                <a:gd name="T14" fmla="*/ 58 w 696"/>
                <a:gd name="T15" fmla="*/ 166 h 281"/>
                <a:gd name="T16" fmla="*/ 0 w 696"/>
                <a:gd name="T17" fmla="*/ 224 h 281"/>
                <a:gd name="T18" fmla="*/ 58 w 696"/>
                <a:gd name="T19" fmla="*/ 281 h 281"/>
                <a:gd name="T20" fmla="*/ 74 w 696"/>
                <a:gd name="T21" fmla="*/ 281 h 281"/>
                <a:gd name="T22" fmla="*/ 264 w 696"/>
                <a:gd name="T23" fmla="*/ 281 h 281"/>
                <a:gd name="T24" fmla="*/ 370 w 696"/>
                <a:gd name="T25" fmla="*/ 281 h 281"/>
                <a:gd name="T26" fmla="*/ 626 w 696"/>
                <a:gd name="T27" fmla="*/ 281 h 281"/>
                <a:gd name="T28" fmla="*/ 626 w 696"/>
                <a:gd name="T29" fmla="*/ 281 h 281"/>
                <a:gd name="T30" fmla="*/ 696 w 696"/>
                <a:gd name="T31" fmla="*/ 207 h 281"/>
                <a:gd name="T32" fmla="*/ 621 w 696"/>
                <a:gd name="T33" fmla="*/ 132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96" h="281">
                  <a:moveTo>
                    <a:pt x="621" y="132"/>
                  </a:moveTo>
                  <a:cubicBezTo>
                    <a:pt x="617" y="132"/>
                    <a:pt x="613" y="133"/>
                    <a:pt x="609" y="133"/>
                  </a:cubicBezTo>
                  <a:cubicBezTo>
                    <a:pt x="606" y="59"/>
                    <a:pt x="544" y="0"/>
                    <a:pt x="469" y="0"/>
                  </a:cubicBezTo>
                  <a:cubicBezTo>
                    <a:pt x="403" y="0"/>
                    <a:pt x="349" y="44"/>
                    <a:pt x="333" y="104"/>
                  </a:cubicBezTo>
                  <a:cubicBezTo>
                    <a:pt x="314" y="85"/>
                    <a:pt x="287" y="73"/>
                    <a:pt x="258" y="73"/>
                  </a:cubicBezTo>
                  <a:cubicBezTo>
                    <a:pt x="204" y="73"/>
                    <a:pt x="160" y="114"/>
                    <a:pt x="155" y="167"/>
                  </a:cubicBezTo>
                  <a:cubicBezTo>
                    <a:pt x="136" y="170"/>
                    <a:pt x="119" y="178"/>
                    <a:pt x="105" y="190"/>
                  </a:cubicBezTo>
                  <a:cubicBezTo>
                    <a:pt x="95" y="175"/>
                    <a:pt x="78" y="166"/>
                    <a:pt x="58" y="166"/>
                  </a:cubicBezTo>
                  <a:cubicBezTo>
                    <a:pt x="26" y="166"/>
                    <a:pt x="0" y="192"/>
                    <a:pt x="0" y="224"/>
                  </a:cubicBezTo>
                  <a:cubicBezTo>
                    <a:pt x="0" y="256"/>
                    <a:pt x="26" y="281"/>
                    <a:pt x="58" y="281"/>
                  </a:cubicBezTo>
                  <a:cubicBezTo>
                    <a:pt x="74" y="281"/>
                    <a:pt x="74" y="281"/>
                    <a:pt x="74" y="281"/>
                  </a:cubicBezTo>
                  <a:cubicBezTo>
                    <a:pt x="264" y="281"/>
                    <a:pt x="264" y="281"/>
                    <a:pt x="264" y="281"/>
                  </a:cubicBezTo>
                  <a:cubicBezTo>
                    <a:pt x="370" y="281"/>
                    <a:pt x="370" y="281"/>
                    <a:pt x="370" y="281"/>
                  </a:cubicBezTo>
                  <a:cubicBezTo>
                    <a:pt x="626" y="281"/>
                    <a:pt x="626" y="281"/>
                    <a:pt x="626" y="281"/>
                  </a:cubicBezTo>
                  <a:cubicBezTo>
                    <a:pt x="626" y="281"/>
                    <a:pt x="626" y="281"/>
                    <a:pt x="626" y="281"/>
                  </a:cubicBezTo>
                  <a:cubicBezTo>
                    <a:pt x="665" y="279"/>
                    <a:pt x="696" y="247"/>
                    <a:pt x="696" y="207"/>
                  </a:cubicBezTo>
                  <a:cubicBezTo>
                    <a:pt x="696" y="166"/>
                    <a:pt x="662" y="132"/>
                    <a:pt x="621" y="13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5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2621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359016" y="3877271"/>
            <a:ext cx="8367343" cy="1794661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66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59016" y="2075840"/>
            <a:ext cx="9562678" cy="1801436"/>
          </a:xfrm>
          <a:noFill/>
        </p:spPr>
        <p:txBody>
          <a:bodyPr lIns="146304" tIns="91440" rIns="146304" bIns="91440" anchor="t" anchorCtr="0"/>
          <a:lstStyle>
            <a:lvl1pPr>
              <a:defRPr sz="6275" spc="-98" baseline="0">
                <a:gradFill>
                  <a:gsLst>
                    <a:gs pos="74747">
                      <a:schemeClr val="tx1"/>
                    </a:gs>
                    <a:gs pos="56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597669" y="6118623"/>
            <a:ext cx="1674031" cy="2689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6858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59016" y="1189177"/>
            <a:ext cx="11473970" cy="2514868"/>
          </a:xfrm>
        </p:spPr>
        <p:txBody>
          <a:bodyPr lIns="164592" rIns="164592"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615"/>
            </a:lvl2pPr>
            <a:lvl3pPr marL="224107" indent="0">
              <a:buNone/>
              <a:defRPr/>
            </a:lvl3pPr>
            <a:lvl4pPr marL="448213" indent="0">
              <a:buNone/>
              <a:defRPr/>
            </a:lvl4pPr>
            <a:lvl5pPr marL="67232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79878210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796217"/>
          </a:xfrm>
          <a:noFill/>
        </p:spPr>
        <p:txBody>
          <a:bodyPr tIns="91440" bIns="91440" anchor="t" anchorCtr="0"/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8627" b="0" kern="1200" cap="none" spc="-98" baseline="0" dirty="0">
                <a:ln w="3175">
                  <a:noFill/>
                </a:ln>
                <a:gradFill>
                  <a:gsLst>
                    <a:gs pos="75912">
                      <a:schemeClr val="tx1"/>
                    </a:gs>
                    <a:gs pos="34307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87413325"/>
      </p:ext>
    </p:extLst>
  </p:cSld>
  <p:clrMapOvr>
    <a:masterClrMapping/>
  </p:clrMapOvr>
  <p:transition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59016" y="1189177"/>
            <a:ext cx="11473970" cy="2603325"/>
          </a:xfrm>
        </p:spPr>
        <p:txBody>
          <a:bodyPr wrap="square">
            <a:spAutoFit/>
          </a:bodyPr>
          <a:lstStyle>
            <a:lvl1pPr>
              <a:defRPr sz="4706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96513198"/>
      </p:ext>
    </p:extLst>
  </p:cSld>
  <p:clrMapOvr>
    <a:masterClrMapping/>
  </p:clrMapOvr>
  <p:transition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59017" y="1187644"/>
            <a:ext cx="5498540" cy="3021966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4184"/>
            </a:lvl1pPr>
            <a:lvl2pPr marL="0" indent="0">
              <a:buNone/>
              <a:defRPr sz="2615"/>
            </a:lvl2pPr>
            <a:lvl3pPr marL="227219" indent="0">
              <a:buNone/>
              <a:tabLst/>
              <a:defRPr sz="2615"/>
            </a:lvl3pPr>
            <a:lvl4pPr marL="451326" indent="0">
              <a:buNone/>
              <a:defRPr/>
            </a:lvl4pPr>
            <a:lvl5pPr marL="672320" indent="0">
              <a:buNone/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335004" y="1187644"/>
            <a:ext cx="5498540" cy="3021966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4184"/>
            </a:lvl1pPr>
            <a:lvl2pPr marL="0" indent="0">
              <a:buNone/>
              <a:defRPr sz="2615"/>
            </a:lvl2pPr>
            <a:lvl3pPr marL="227219" indent="0">
              <a:buNone/>
              <a:tabLst/>
              <a:defRPr sz="2615"/>
            </a:lvl3pPr>
            <a:lvl4pPr marL="451326" indent="0">
              <a:buNone/>
              <a:defRPr/>
            </a:lvl4pPr>
            <a:lvl5pPr marL="672320" indent="0">
              <a:buNone/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66789713"/>
      </p:ext>
    </p:extLst>
  </p:cSld>
  <p:clrMapOvr>
    <a:masterClrMapping/>
  </p:clrMapOvr>
  <p:transition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58854" y="1187644"/>
            <a:ext cx="5498540" cy="3021966"/>
          </a:xfrm>
        </p:spPr>
        <p:txBody>
          <a:bodyPr wrap="square">
            <a:spAutoFit/>
          </a:bodyPr>
          <a:lstStyle>
            <a:lvl1pPr marL="281691" indent="-281691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4184"/>
            </a:lvl1pPr>
            <a:lvl2pPr marL="520725" indent="-228611">
              <a:defRPr sz="2615"/>
            </a:lvl2pPr>
            <a:lvl3pPr marL="685835" indent="-165108">
              <a:tabLst/>
              <a:defRPr sz="2615"/>
            </a:lvl3pPr>
            <a:lvl4pPr marL="863642" indent="-177809">
              <a:defRPr/>
            </a:lvl4pPr>
            <a:lvl5pPr marL="1028751" indent="-165108"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335004" y="1187644"/>
            <a:ext cx="5498540" cy="3021966"/>
          </a:xfrm>
        </p:spPr>
        <p:txBody>
          <a:bodyPr wrap="square">
            <a:spAutoFit/>
          </a:bodyPr>
          <a:lstStyle>
            <a:lvl1pPr marL="281691" indent="-281691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4184"/>
            </a:lvl1pPr>
            <a:lvl2pPr marL="520725" indent="-228611">
              <a:defRPr sz="2615"/>
            </a:lvl2pPr>
            <a:lvl3pPr marL="685835" indent="-165108">
              <a:tabLst/>
              <a:defRPr sz="2615"/>
            </a:lvl3pPr>
            <a:lvl4pPr marL="863642" indent="-177809">
              <a:defRPr/>
            </a:lvl4pPr>
            <a:lvl5pPr marL="1028751" indent="-165108"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37879369"/>
      </p:ext>
    </p:extLst>
  </p:cSld>
  <p:clrMapOvr>
    <a:masterClrMapping/>
  </p:clrMapOvr>
  <p:transition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73416714"/>
      </p:ext>
    </p:extLst>
  </p:cSld>
  <p:clrMapOvr>
    <a:masterClrMapping/>
  </p:clrMapOvr>
  <p:transition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9017" y="1186356"/>
            <a:ext cx="9562680" cy="2697988"/>
          </a:xfrm>
          <a:noFill/>
        </p:spPr>
        <p:txBody>
          <a:bodyPr tIns="91440" bIns="91440" anchor="t" anchorCtr="0"/>
          <a:lstStyle>
            <a:lvl1pPr>
              <a:defRPr sz="7844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359018" y="3877281"/>
            <a:ext cx="9562678" cy="1793881"/>
          </a:xfrm>
          <a:noFill/>
        </p:spPr>
        <p:txBody>
          <a:bodyPr lIns="182880" tIns="146304" rIns="182880" bIns="146304">
            <a:noAutofit/>
          </a:bodyPr>
          <a:lstStyle>
            <a:lvl1pPr marL="0" indent="0">
              <a:spcBef>
                <a:spcPts val="0"/>
              </a:spcBef>
              <a:buNone/>
              <a:defRPr sz="366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25109044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9016" y="1186356"/>
            <a:ext cx="9562679" cy="2697988"/>
          </a:xfrm>
          <a:noFill/>
        </p:spPr>
        <p:txBody>
          <a:bodyPr tIns="91440" bIns="91440" anchor="t" anchorCtr="0"/>
          <a:lstStyle>
            <a:lvl1pPr>
              <a:defRPr lang="en-US" sz="7844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37041035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9016" y="2931082"/>
            <a:ext cx="11473970" cy="1267431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844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926871683"/>
      </p:ext>
    </p:extLst>
  </p:cSld>
  <p:clrMapOvr>
    <a:masterClrMapping/>
  </p:clrMapOvr>
  <p:transition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9017" y="2931082"/>
            <a:ext cx="11462090" cy="1267431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844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42890880"/>
      </p:ext>
    </p:extLst>
  </p:cSld>
  <p:clrMapOvr>
    <a:masterClrMapping/>
  </p:clrMapOvr>
  <p:transition>
    <p:fad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9016" y="2931082"/>
            <a:ext cx="11473970" cy="1267431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844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575895486"/>
      </p:ext>
    </p:extLst>
  </p:cSld>
  <p:clrMapOvr>
    <a:masterClrMapping/>
  </p:clrMapOvr>
  <p:transition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-50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9015" y="1217198"/>
            <a:ext cx="5498540" cy="1973318"/>
          </a:xfrm>
        </p:spPr>
        <p:txBody>
          <a:bodyPr wrap="square">
            <a:spAutoFit/>
          </a:bodyPr>
          <a:lstStyle>
            <a:lvl1pPr>
              <a:defRPr sz="647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50/50 photo layout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6097037" y="1"/>
            <a:ext cx="6094963" cy="6858000"/>
          </a:xfrm>
          <a:blipFill>
            <a:blip r:embed="rId2"/>
            <a:stretch>
              <a:fillRect/>
            </a:stretch>
          </a:blip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50000"/>
              </a:lnSpc>
              <a:spcBef>
                <a:spcPts val="0"/>
              </a:spcBef>
              <a:buNone/>
              <a:defRPr sz="3660" baseline="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on icon below</a:t>
            </a:r>
            <a:br>
              <a:rPr lang="en-US" dirty="0"/>
            </a:br>
            <a:r>
              <a:rPr lang="en-US" dirty="0"/>
              <a:t>to insert a new photo</a:t>
            </a:r>
          </a:p>
        </p:txBody>
      </p:sp>
    </p:spTree>
    <p:extLst>
      <p:ext uri="{BB962C8B-B14F-4D97-AF65-F5344CB8AC3E}">
        <p14:creationId xmlns:p14="http://schemas.microsoft.com/office/powerpoint/2010/main" val="279592303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916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796217"/>
          </a:xfrm>
          <a:noFill/>
        </p:spPr>
        <p:txBody>
          <a:bodyPr tIns="91440" bIns="91440" anchor="t" anchorCtr="0"/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8627" b="0" kern="1200" cap="none" spc="-98" baseline="0" dirty="0">
                <a:ln w="3175">
                  <a:noFill/>
                </a:ln>
                <a:gradFill>
                  <a:gsLst>
                    <a:gs pos="83448">
                      <a:schemeClr val="tx1"/>
                    </a:gs>
                    <a:gs pos="53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3087186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02763789"/>
      </p:ext>
    </p:extLst>
  </p:cSld>
  <p:clrMapOvr>
    <a:masterClrMapping/>
  </p:clrMapOvr>
  <p:transition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12361652"/>
      </p:ext>
    </p:extLst>
  </p:cSld>
  <p:clrMapOvr>
    <a:masterClrMapping/>
  </p:clrMapOvr>
  <p:transition>
    <p:fade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60932946"/>
      </p:ext>
    </p:extLst>
  </p:cSld>
  <p:clrMapOvr>
    <a:masterClrMapping/>
  </p:clrMapOvr>
  <p:transition>
    <p:fade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25670321"/>
      </p:ext>
    </p:extLst>
  </p:cSld>
  <p:clrMapOvr>
    <a:masterClrMapping/>
  </p:clrMapOvr>
  <p:transition>
    <p:fade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3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2" tIns="45722" rIns="45722" bIns="457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4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59017" y="1197325"/>
            <a:ext cx="11473968" cy="2530963"/>
          </a:xfrm>
        </p:spPr>
        <p:txBody>
          <a:bodyPr/>
          <a:lstStyle>
            <a:lvl1pPr marL="0" indent="0">
              <a:buNone/>
              <a:defRPr sz="4184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741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3117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553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340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62891097"/>
      </p:ext>
    </p:extLst>
  </p:cSld>
  <p:clrMapOvr>
    <a:masterClrMapping/>
  </p:clrMapOvr>
  <p:transition>
    <p:fade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377401" y="6198021"/>
            <a:ext cx="11473970" cy="491868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239067" tIns="191254" rIns="239067" bIns="191254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3965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  <a:t>© 2014 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600324" y="3083653"/>
            <a:ext cx="3403752" cy="6906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5852652"/>
      </p:ext>
    </p:extLst>
  </p:cSld>
  <p:clrMapOvr>
    <a:masterClrMapping/>
  </p:clrMapOvr>
  <p:transition>
    <p:fade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359016" y="1189177"/>
            <a:ext cx="11473970" cy="3134438"/>
          </a:xfrm>
          <a:prstGeom prst="rect">
            <a:avLst/>
          </a:prstGeom>
        </p:spPr>
        <p:txBody>
          <a:bodyPr/>
          <a:lstStyle>
            <a:lvl1pPr marL="284803" indent="-284803">
              <a:buClr>
                <a:schemeClr val="tx1"/>
              </a:buClr>
              <a:buSzPct val="90000"/>
              <a:buFont typeface="Arial" pitchFamily="34" charset="0"/>
              <a:buChar char="•"/>
              <a:defRPr sz="4706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268" indent="-275466">
              <a:buClr>
                <a:schemeClr val="tx1"/>
              </a:buClr>
              <a:buSzPct val="90000"/>
              <a:buFont typeface="Arial" pitchFamily="34" charset="0"/>
              <a:buChar char="•"/>
              <a:defRPr sz="4184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5070" indent="-284803">
              <a:buClr>
                <a:schemeClr val="tx1"/>
              </a:buClr>
              <a:buSzPct val="90000"/>
              <a:buFont typeface="Arial" pitchFamily="34" charset="0"/>
              <a:buChar char="•"/>
              <a:defRPr sz="366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9177" indent="-224107">
              <a:buClr>
                <a:schemeClr val="tx1"/>
              </a:buClr>
              <a:buSzPct val="90000"/>
              <a:buFont typeface="Arial" pitchFamily="34" charset="0"/>
              <a:buChar char="•"/>
              <a:defRPr sz="3138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283" indent="-224107">
              <a:buClr>
                <a:schemeClr val="tx1"/>
              </a:buClr>
              <a:buSzPct val="90000"/>
              <a:buFont typeface="Arial" pitchFamily="34" charset="0"/>
              <a:buChar char="•"/>
              <a:defRPr sz="261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4184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299288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 Cya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78951" y="2109543"/>
            <a:ext cx="10240453" cy="997196"/>
          </a:xfrm>
          <a:prstGeom prst="rect">
            <a:avLst/>
          </a:prstGeom>
        </p:spPr>
        <p:txBody>
          <a:bodyPr lIns="91306" tIns="45654" rIns="91306" bIns="45654" anchor="b" anchorCtr="0"/>
          <a:lstStyle>
            <a:lvl1pPr>
              <a:defRPr sz="7198" spc="-150" baseline="0"/>
            </a:lvl1pPr>
          </a:lstStyle>
          <a:p>
            <a:r>
              <a:rPr lang="en-US" dirty="0"/>
              <a:t>Click to edit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978951" y="3425828"/>
            <a:ext cx="10240453" cy="498599"/>
          </a:xfrm>
          <a:prstGeom prst="rect">
            <a:avLst/>
          </a:prstGeom>
        </p:spPr>
        <p:txBody>
          <a:bodyPr lIns="91306" tIns="45654" rIns="91306" bIns="45654">
            <a:noAutofit/>
          </a:bodyPr>
          <a:lstStyle>
            <a:lvl1pPr marL="0" indent="0">
              <a:spcBef>
                <a:spcPts val="0"/>
              </a:spcBef>
              <a:buNone/>
              <a:defRPr spc="-71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2346818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 Orange">
    <p:bg>
      <p:bgPr>
        <a:solidFill>
          <a:srgbClr val="EB3C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78951" y="2109543"/>
            <a:ext cx="10240453" cy="997196"/>
          </a:xfrm>
          <a:prstGeom prst="rect">
            <a:avLst/>
          </a:prstGeom>
        </p:spPr>
        <p:txBody>
          <a:bodyPr lIns="91306" tIns="45654" rIns="91306" bIns="45654" anchor="b" anchorCtr="0"/>
          <a:lstStyle>
            <a:lvl1pPr>
              <a:defRPr sz="7198" spc="-150" baseline="0"/>
            </a:lvl1pPr>
          </a:lstStyle>
          <a:p>
            <a:r>
              <a:rPr lang="en-US" dirty="0"/>
              <a:t>Click to edit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978951" y="3425828"/>
            <a:ext cx="10240453" cy="498599"/>
          </a:xfrm>
          <a:prstGeom prst="rect">
            <a:avLst/>
          </a:prstGeom>
        </p:spPr>
        <p:txBody>
          <a:bodyPr lIns="91306" tIns="45654" rIns="91306" bIns="45654">
            <a:noAutofit/>
          </a:bodyPr>
          <a:lstStyle>
            <a:lvl1pPr marL="0" indent="0">
              <a:spcBef>
                <a:spcPts val="0"/>
              </a:spcBef>
              <a:buNone/>
              <a:defRPr spc="-71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4217648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 Gree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78951" y="2109543"/>
            <a:ext cx="10240453" cy="997196"/>
          </a:xfrm>
          <a:prstGeom prst="rect">
            <a:avLst/>
          </a:prstGeom>
        </p:spPr>
        <p:txBody>
          <a:bodyPr lIns="91306" tIns="45654" rIns="91306" bIns="45654" anchor="b" anchorCtr="0"/>
          <a:lstStyle>
            <a:lvl1pPr>
              <a:defRPr sz="7198" spc="-150" baseline="0"/>
            </a:lvl1pPr>
          </a:lstStyle>
          <a:p>
            <a:r>
              <a:rPr lang="en-US" dirty="0"/>
              <a:t>Click to edit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978951" y="3425828"/>
            <a:ext cx="10240453" cy="498599"/>
          </a:xfrm>
          <a:prstGeom prst="rect">
            <a:avLst/>
          </a:prstGeom>
        </p:spPr>
        <p:txBody>
          <a:bodyPr lIns="91306" tIns="45654" rIns="91306" bIns="45654">
            <a:noAutofit/>
          </a:bodyPr>
          <a:lstStyle>
            <a:lvl1pPr marL="0" indent="0">
              <a:spcBef>
                <a:spcPts val="0"/>
              </a:spcBef>
              <a:buNone/>
              <a:defRPr spc="-71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286344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.png"/></Relationships>
</file>

<file path=ppt/slideMasters/_rels/slideMaster10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80.xml"/><Relationship Id="rId18" Type="http://schemas.openxmlformats.org/officeDocument/2006/relationships/slideLayout" Target="../slideLayouts/slideLayout185.xml"/><Relationship Id="rId26" Type="http://schemas.openxmlformats.org/officeDocument/2006/relationships/slideLayout" Target="../slideLayouts/slideLayout193.xml"/><Relationship Id="rId21" Type="http://schemas.openxmlformats.org/officeDocument/2006/relationships/slideLayout" Target="../slideLayouts/slideLayout188.xml"/><Relationship Id="rId34" Type="http://schemas.openxmlformats.org/officeDocument/2006/relationships/slideLayout" Target="../slideLayouts/slideLayout201.xml"/><Relationship Id="rId7" Type="http://schemas.openxmlformats.org/officeDocument/2006/relationships/slideLayout" Target="../slideLayouts/slideLayout174.xml"/><Relationship Id="rId12" Type="http://schemas.openxmlformats.org/officeDocument/2006/relationships/slideLayout" Target="../slideLayouts/slideLayout179.xml"/><Relationship Id="rId17" Type="http://schemas.openxmlformats.org/officeDocument/2006/relationships/slideLayout" Target="../slideLayouts/slideLayout184.xml"/><Relationship Id="rId25" Type="http://schemas.openxmlformats.org/officeDocument/2006/relationships/slideLayout" Target="../slideLayouts/slideLayout192.xml"/><Relationship Id="rId33" Type="http://schemas.openxmlformats.org/officeDocument/2006/relationships/slideLayout" Target="../slideLayouts/slideLayout200.xml"/><Relationship Id="rId2" Type="http://schemas.openxmlformats.org/officeDocument/2006/relationships/slideLayout" Target="../slideLayouts/slideLayout169.xml"/><Relationship Id="rId16" Type="http://schemas.openxmlformats.org/officeDocument/2006/relationships/slideLayout" Target="../slideLayouts/slideLayout183.xml"/><Relationship Id="rId20" Type="http://schemas.openxmlformats.org/officeDocument/2006/relationships/slideLayout" Target="../slideLayouts/slideLayout187.xml"/><Relationship Id="rId29" Type="http://schemas.openxmlformats.org/officeDocument/2006/relationships/slideLayout" Target="../slideLayouts/slideLayout196.xml"/><Relationship Id="rId1" Type="http://schemas.openxmlformats.org/officeDocument/2006/relationships/slideLayout" Target="../slideLayouts/slideLayout168.xml"/><Relationship Id="rId6" Type="http://schemas.openxmlformats.org/officeDocument/2006/relationships/slideLayout" Target="../slideLayouts/slideLayout173.xml"/><Relationship Id="rId11" Type="http://schemas.openxmlformats.org/officeDocument/2006/relationships/slideLayout" Target="../slideLayouts/slideLayout178.xml"/><Relationship Id="rId24" Type="http://schemas.openxmlformats.org/officeDocument/2006/relationships/slideLayout" Target="../slideLayouts/slideLayout191.xml"/><Relationship Id="rId32" Type="http://schemas.openxmlformats.org/officeDocument/2006/relationships/slideLayout" Target="../slideLayouts/slideLayout199.xml"/><Relationship Id="rId37" Type="http://schemas.openxmlformats.org/officeDocument/2006/relationships/image" Target="../media/image2.png"/><Relationship Id="rId5" Type="http://schemas.openxmlformats.org/officeDocument/2006/relationships/slideLayout" Target="../slideLayouts/slideLayout172.xml"/><Relationship Id="rId15" Type="http://schemas.openxmlformats.org/officeDocument/2006/relationships/slideLayout" Target="../slideLayouts/slideLayout182.xml"/><Relationship Id="rId23" Type="http://schemas.openxmlformats.org/officeDocument/2006/relationships/slideLayout" Target="../slideLayouts/slideLayout190.xml"/><Relationship Id="rId28" Type="http://schemas.openxmlformats.org/officeDocument/2006/relationships/slideLayout" Target="../slideLayouts/slideLayout195.xml"/><Relationship Id="rId36" Type="http://schemas.openxmlformats.org/officeDocument/2006/relationships/theme" Target="../theme/theme10.xml"/><Relationship Id="rId10" Type="http://schemas.openxmlformats.org/officeDocument/2006/relationships/slideLayout" Target="../slideLayouts/slideLayout177.xml"/><Relationship Id="rId19" Type="http://schemas.openxmlformats.org/officeDocument/2006/relationships/slideLayout" Target="../slideLayouts/slideLayout186.xml"/><Relationship Id="rId31" Type="http://schemas.openxmlformats.org/officeDocument/2006/relationships/slideLayout" Target="../slideLayouts/slideLayout198.xml"/><Relationship Id="rId4" Type="http://schemas.openxmlformats.org/officeDocument/2006/relationships/slideLayout" Target="../slideLayouts/slideLayout171.xml"/><Relationship Id="rId9" Type="http://schemas.openxmlformats.org/officeDocument/2006/relationships/slideLayout" Target="../slideLayouts/slideLayout176.xml"/><Relationship Id="rId14" Type="http://schemas.openxmlformats.org/officeDocument/2006/relationships/slideLayout" Target="../slideLayouts/slideLayout181.xml"/><Relationship Id="rId22" Type="http://schemas.openxmlformats.org/officeDocument/2006/relationships/slideLayout" Target="../slideLayouts/slideLayout189.xml"/><Relationship Id="rId27" Type="http://schemas.openxmlformats.org/officeDocument/2006/relationships/slideLayout" Target="../slideLayouts/slideLayout194.xml"/><Relationship Id="rId30" Type="http://schemas.openxmlformats.org/officeDocument/2006/relationships/slideLayout" Target="../slideLayouts/slideLayout197.xml"/><Relationship Id="rId35" Type="http://schemas.openxmlformats.org/officeDocument/2006/relationships/slideLayout" Target="../slideLayouts/slideLayout202.xml"/><Relationship Id="rId8" Type="http://schemas.openxmlformats.org/officeDocument/2006/relationships/slideLayout" Target="../slideLayouts/slideLayout175.xml"/><Relationship Id="rId3" Type="http://schemas.openxmlformats.org/officeDocument/2006/relationships/slideLayout" Target="../slideLayouts/slideLayout170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0.xml"/><Relationship Id="rId13" Type="http://schemas.openxmlformats.org/officeDocument/2006/relationships/slideLayout" Target="../slideLayouts/slideLayout215.xml"/><Relationship Id="rId18" Type="http://schemas.openxmlformats.org/officeDocument/2006/relationships/slideLayout" Target="../slideLayouts/slideLayout220.xml"/><Relationship Id="rId26" Type="http://schemas.openxmlformats.org/officeDocument/2006/relationships/slideLayout" Target="../slideLayouts/slideLayout228.xml"/><Relationship Id="rId3" Type="http://schemas.openxmlformats.org/officeDocument/2006/relationships/slideLayout" Target="../slideLayouts/slideLayout205.xml"/><Relationship Id="rId21" Type="http://schemas.openxmlformats.org/officeDocument/2006/relationships/slideLayout" Target="../slideLayouts/slideLayout223.xml"/><Relationship Id="rId7" Type="http://schemas.openxmlformats.org/officeDocument/2006/relationships/slideLayout" Target="../slideLayouts/slideLayout209.xml"/><Relationship Id="rId12" Type="http://schemas.openxmlformats.org/officeDocument/2006/relationships/slideLayout" Target="../slideLayouts/slideLayout214.xml"/><Relationship Id="rId17" Type="http://schemas.openxmlformats.org/officeDocument/2006/relationships/slideLayout" Target="../slideLayouts/slideLayout219.xml"/><Relationship Id="rId25" Type="http://schemas.openxmlformats.org/officeDocument/2006/relationships/slideLayout" Target="../slideLayouts/slideLayout227.xml"/><Relationship Id="rId2" Type="http://schemas.openxmlformats.org/officeDocument/2006/relationships/slideLayout" Target="../slideLayouts/slideLayout204.xml"/><Relationship Id="rId16" Type="http://schemas.openxmlformats.org/officeDocument/2006/relationships/slideLayout" Target="../slideLayouts/slideLayout218.xml"/><Relationship Id="rId20" Type="http://schemas.openxmlformats.org/officeDocument/2006/relationships/slideLayout" Target="../slideLayouts/slideLayout222.xml"/><Relationship Id="rId1" Type="http://schemas.openxmlformats.org/officeDocument/2006/relationships/slideLayout" Target="../slideLayouts/slideLayout203.xml"/><Relationship Id="rId6" Type="http://schemas.openxmlformats.org/officeDocument/2006/relationships/slideLayout" Target="../slideLayouts/slideLayout208.xml"/><Relationship Id="rId11" Type="http://schemas.openxmlformats.org/officeDocument/2006/relationships/slideLayout" Target="../slideLayouts/slideLayout213.xml"/><Relationship Id="rId24" Type="http://schemas.openxmlformats.org/officeDocument/2006/relationships/slideLayout" Target="../slideLayouts/slideLayout226.xml"/><Relationship Id="rId5" Type="http://schemas.openxmlformats.org/officeDocument/2006/relationships/slideLayout" Target="../slideLayouts/slideLayout207.xml"/><Relationship Id="rId15" Type="http://schemas.openxmlformats.org/officeDocument/2006/relationships/slideLayout" Target="../slideLayouts/slideLayout217.xml"/><Relationship Id="rId23" Type="http://schemas.openxmlformats.org/officeDocument/2006/relationships/slideLayout" Target="../slideLayouts/slideLayout225.xml"/><Relationship Id="rId28" Type="http://schemas.openxmlformats.org/officeDocument/2006/relationships/image" Target="../media/image2.png"/><Relationship Id="rId10" Type="http://schemas.openxmlformats.org/officeDocument/2006/relationships/slideLayout" Target="../slideLayouts/slideLayout212.xml"/><Relationship Id="rId19" Type="http://schemas.openxmlformats.org/officeDocument/2006/relationships/slideLayout" Target="../slideLayouts/slideLayout221.xml"/><Relationship Id="rId4" Type="http://schemas.openxmlformats.org/officeDocument/2006/relationships/slideLayout" Target="../slideLayouts/slideLayout206.xml"/><Relationship Id="rId9" Type="http://schemas.openxmlformats.org/officeDocument/2006/relationships/slideLayout" Target="../slideLayouts/slideLayout211.xml"/><Relationship Id="rId14" Type="http://schemas.openxmlformats.org/officeDocument/2006/relationships/slideLayout" Target="../slideLayouts/slideLayout216.xml"/><Relationship Id="rId22" Type="http://schemas.openxmlformats.org/officeDocument/2006/relationships/slideLayout" Target="../slideLayouts/slideLayout224.xml"/><Relationship Id="rId27" Type="http://schemas.openxmlformats.org/officeDocument/2006/relationships/theme" Target="../theme/theme1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13" Type="http://schemas.openxmlformats.org/officeDocument/2006/relationships/slideLayout" Target="../slideLayouts/slideLayout15.xml"/><Relationship Id="rId1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5.xml"/><Relationship Id="rId21" Type="http://schemas.openxmlformats.org/officeDocument/2006/relationships/slideLayout" Target="../slideLayouts/slideLayout23.xml"/><Relationship Id="rId7" Type="http://schemas.openxmlformats.org/officeDocument/2006/relationships/slideLayout" Target="../slideLayouts/slideLayout9.xml"/><Relationship Id="rId12" Type="http://schemas.openxmlformats.org/officeDocument/2006/relationships/slideLayout" Target="../slideLayouts/slideLayout14.xml"/><Relationship Id="rId17" Type="http://schemas.openxmlformats.org/officeDocument/2006/relationships/slideLayout" Target="../slideLayouts/slideLayout19.xml"/><Relationship Id="rId2" Type="http://schemas.openxmlformats.org/officeDocument/2006/relationships/slideLayout" Target="../slideLayouts/slideLayout4.xml"/><Relationship Id="rId16" Type="http://schemas.openxmlformats.org/officeDocument/2006/relationships/slideLayout" Target="../slideLayouts/slideLayout18.xml"/><Relationship Id="rId20" Type="http://schemas.openxmlformats.org/officeDocument/2006/relationships/slideLayout" Target="../slideLayouts/slideLayout22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7.xml"/><Relationship Id="rId15" Type="http://schemas.openxmlformats.org/officeDocument/2006/relationships/slideLayout" Target="../slideLayouts/slideLayout17.xml"/><Relationship Id="rId23" Type="http://schemas.openxmlformats.org/officeDocument/2006/relationships/theme" Target="../theme/theme2.xml"/><Relationship Id="rId10" Type="http://schemas.openxmlformats.org/officeDocument/2006/relationships/slideLayout" Target="../slideLayouts/slideLayout12.xml"/><Relationship Id="rId19" Type="http://schemas.openxmlformats.org/officeDocument/2006/relationships/slideLayout" Target="../slideLayouts/slideLayout21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Relationship Id="rId14" Type="http://schemas.openxmlformats.org/officeDocument/2006/relationships/slideLayout" Target="../slideLayouts/slideLayout16.xml"/><Relationship Id="rId22" Type="http://schemas.openxmlformats.org/officeDocument/2006/relationships/slideLayout" Target="../slideLayouts/slideLayout2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slideLayout" Target="../slideLayouts/slideLayout37.xml"/><Relationship Id="rId18" Type="http://schemas.openxmlformats.org/officeDocument/2006/relationships/slideLayout" Target="../slideLayouts/slideLayout42.xml"/><Relationship Id="rId3" Type="http://schemas.openxmlformats.org/officeDocument/2006/relationships/slideLayout" Target="../slideLayouts/slideLayout27.xml"/><Relationship Id="rId21" Type="http://schemas.openxmlformats.org/officeDocument/2006/relationships/slideLayout" Target="../slideLayouts/slideLayout45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17" Type="http://schemas.openxmlformats.org/officeDocument/2006/relationships/slideLayout" Target="../slideLayouts/slideLayout41.xml"/><Relationship Id="rId2" Type="http://schemas.openxmlformats.org/officeDocument/2006/relationships/slideLayout" Target="../slideLayouts/slideLayout26.xml"/><Relationship Id="rId16" Type="http://schemas.openxmlformats.org/officeDocument/2006/relationships/slideLayout" Target="../slideLayouts/slideLayout40.xml"/><Relationship Id="rId20" Type="http://schemas.openxmlformats.org/officeDocument/2006/relationships/slideLayout" Target="../slideLayouts/slideLayout44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24" Type="http://schemas.openxmlformats.org/officeDocument/2006/relationships/theme" Target="../theme/theme3.xml"/><Relationship Id="rId5" Type="http://schemas.openxmlformats.org/officeDocument/2006/relationships/slideLayout" Target="../slideLayouts/slideLayout29.xml"/><Relationship Id="rId15" Type="http://schemas.openxmlformats.org/officeDocument/2006/relationships/slideLayout" Target="../slideLayouts/slideLayout39.xml"/><Relationship Id="rId23" Type="http://schemas.openxmlformats.org/officeDocument/2006/relationships/slideLayout" Target="../slideLayouts/slideLayout47.xml"/><Relationship Id="rId10" Type="http://schemas.openxmlformats.org/officeDocument/2006/relationships/slideLayout" Target="../slideLayouts/slideLayout34.xml"/><Relationship Id="rId19" Type="http://schemas.openxmlformats.org/officeDocument/2006/relationships/slideLayout" Target="../slideLayouts/slideLayout43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slideLayout" Target="../slideLayouts/slideLayout38.xml"/><Relationship Id="rId22" Type="http://schemas.openxmlformats.org/officeDocument/2006/relationships/slideLayout" Target="../slideLayouts/slideLayout4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.xml"/><Relationship Id="rId13" Type="http://schemas.openxmlformats.org/officeDocument/2006/relationships/slideLayout" Target="../slideLayouts/slideLayout60.xml"/><Relationship Id="rId18" Type="http://schemas.openxmlformats.org/officeDocument/2006/relationships/slideLayout" Target="../slideLayouts/slideLayout65.xml"/><Relationship Id="rId26" Type="http://schemas.openxmlformats.org/officeDocument/2006/relationships/slideLayout" Target="../slideLayouts/slideLayout73.xml"/><Relationship Id="rId3" Type="http://schemas.openxmlformats.org/officeDocument/2006/relationships/slideLayout" Target="../slideLayouts/slideLayout50.xml"/><Relationship Id="rId21" Type="http://schemas.openxmlformats.org/officeDocument/2006/relationships/slideLayout" Target="../slideLayouts/slideLayout68.xml"/><Relationship Id="rId7" Type="http://schemas.openxmlformats.org/officeDocument/2006/relationships/slideLayout" Target="../slideLayouts/slideLayout54.xml"/><Relationship Id="rId12" Type="http://schemas.openxmlformats.org/officeDocument/2006/relationships/slideLayout" Target="../slideLayouts/slideLayout59.xml"/><Relationship Id="rId17" Type="http://schemas.openxmlformats.org/officeDocument/2006/relationships/slideLayout" Target="../slideLayouts/slideLayout64.xml"/><Relationship Id="rId25" Type="http://schemas.openxmlformats.org/officeDocument/2006/relationships/slideLayout" Target="../slideLayouts/slideLayout72.xml"/><Relationship Id="rId2" Type="http://schemas.openxmlformats.org/officeDocument/2006/relationships/slideLayout" Target="../slideLayouts/slideLayout49.xml"/><Relationship Id="rId16" Type="http://schemas.openxmlformats.org/officeDocument/2006/relationships/slideLayout" Target="../slideLayouts/slideLayout63.xml"/><Relationship Id="rId20" Type="http://schemas.openxmlformats.org/officeDocument/2006/relationships/slideLayout" Target="../slideLayouts/slideLayout67.xml"/><Relationship Id="rId29" Type="http://schemas.openxmlformats.org/officeDocument/2006/relationships/slideLayout" Target="../slideLayouts/slideLayout76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slideLayout" Target="../slideLayouts/slideLayout58.xml"/><Relationship Id="rId24" Type="http://schemas.openxmlformats.org/officeDocument/2006/relationships/slideLayout" Target="../slideLayouts/slideLayout71.xml"/><Relationship Id="rId5" Type="http://schemas.openxmlformats.org/officeDocument/2006/relationships/slideLayout" Target="../slideLayouts/slideLayout52.xml"/><Relationship Id="rId15" Type="http://schemas.openxmlformats.org/officeDocument/2006/relationships/slideLayout" Target="../slideLayouts/slideLayout62.xml"/><Relationship Id="rId23" Type="http://schemas.openxmlformats.org/officeDocument/2006/relationships/slideLayout" Target="../slideLayouts/slideLayout70.xml"/><Relationship Id="rId28" Type="http://schemas.openxmlformats.org/officeDocument/2006/relationships/slideLayout" Target="../slideLayouts/slideLayout75.xml"/><Relationship Id="rId10" Type="http://schemas.openxmlformats.org/officeDocument/2006/relationships/slideLayout" Target="../slideLayouts/slideLayout57.xml"/><Relationship Id="rId19" Type="http://schemas.openxmlformats.org/officeDocument/2006/relationships/slideLayout" Target="../slideLayouts/slideLayout66.xml"/><Relationship Id="rId31" Type="http://schemas.openxmlformats.org/officeDocument/2006/relationships/image" Target="../media/image2.png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Relationship Id="rId14" Type="http://schemas.openxmlformats.org/officeDocument/2006/relationships/slideLayout" Target="../slideLayouts/slideLayout61.xml"/><Relationship Id="rId22" Type="http://schemas.openxmlformats.org/officeDocument/2006/relationships/slideLayout" Target="../slideLayouts/slideLayout69.xml"/><Relationship Id="rId27" Type="http://schemas.openxmlformats.org/officeDocument/2006/relationships/slideLayout" Target="../slideLayouts/slideLayout74.xml"/><Relationship Id="rId30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4.xml"/><Relationship Id="rId13" Type="http://schemas.openxmlformats.org/officeDocument/2006/relationships/slideLayout" Target="../slideLayouts/slideLayout89.xml"/><Relationship Id="rId18" Type="http://schemas.openxmlformats.org/officeDocument/2006/relationships/slideLayout" Target="../slideLayouts/slideLayout94.xml"/><Relationship Id="rId3" Type="http://schemas.openxmlformats.org/officeDocument/2006/relationships/slideLayout" Target="../slideLayouts/slideLayout79.xml"/><Relationship Id="rId21" Type="http://schemas.openxmlformats.org/officeDocument/2006/relationships/theme" Target="../theme/theme5.xml"/><Relationship Id="rId7" Type="http://schemas.openxmlformats.org/officeDocument/2006/relationships/slideLayout" Target="../slideLayouts/slideLayout83.xml"/><Relationship Id="rId12" Type="http://schemas.openxmlformats.org/officeDocument/2006/relationships/slideLayout" Target="../slideLayouts/slideLayout88.xml"/><Relationship Id="rId17" Type="http://schemas.openxmlformats.org/officeDocument/2006/relationships/slideLayout" Target="../slideLayouts/slideLayout93.xml"/><Relationship Id="rId2" Type="http://schemas.openxmlformats.org/officeDocument/2006/relationships/slideLayout" Target="../slideLayouts/slideLayout78.xml"/><Relationship Id="rId16" Type="http://schemas.openxmlformats.org/officeDocument/2006/relationships/slideLayout" Target="../slideLayouts/slideLayout92.xml"/><Relationship Id="rId20" Type="http://schemas.openxmlformats.org/officeDocument/2006/relationships/slideLayout" Target="../slideLayouts/slideLayout96.xml"/><Relationship Id="rId1" Type="http://schemas.openxmlformats.org/officeDocument/2006/relationships/slideLayout" Target="../slideLayouts/slideLayout77.xml"/><Relationship Id="rId6" Type="http://schemas.openxmlformats.org/officeDocument/2006/relationships/slideLayout" Target="../slideLayouts/slideLayout82.xml"/><Relationship Id="rId11" Type="http://schemas.openxmlformats.org/officeDocument/2006/relationships/slideLayout" Target="../slideLayouts/slideLayout87.xml"/><Relationship Id="rId5" Type="http://schemas.openxmlformats.org/officeDocument/2006/relationships/slideLayout" Target="../slideLayouts/slideLayout81.xml"/><Relationship Id="rId15" Type="http://schemas.openxmlformats.org/officeDocument/2006/relationships/slideLayout" Target="../slideLayouts/slideLayout91.xml"/><Relationship Id="rId10" Type="http://schemas.openxmlformats.org/officeDocument/2006/relationships/slideLayout" Target="../slideLayouts/slideLayout86.xml"/><Relationship Id="rId19" Type="http://schemas.openxmlformats.org/officeDocument/2006/relationships/slideLayout" Target="../slideLayouts/slideLayout95.xml"/><Relationship Id="rId4" Type="http://schemas.openxmlformats.org/officeDocument/2006/relationships/slideLayout" Target="../slideLayouts/slideLayout80.xml"/><Relationship Id="rId9" Type="http://schemas.openxmlformats.org/officeDocument/2006/relationships/slideLayout" Target="../slideLayouts/slideLayout85.xml"/><Relationship Id="rId14" Type="http://schemas.openxmlformats.org/officeDocument/2006/relationships/slideLayout" Target="../slideLayouts/slideLayout90.xml"/><Relationship Id="rId22" Type="http://schemas.openxmlformats.org/officeDocument/2006/relationships/image" Target="../media/image2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4.xml"/><Relationship Id="rId13" Type="http://schemas.openxmlformats.org/officeDocument/2006/relationships/slideLayout" Target="../slideLayouts/slideLayout109.xml"/><Relationship Id="rId18" Type="http://schemas.openxmlformats.org/officeDocument/2006/relationships/slideLayout" Target="../slideLayouts/slideLayout114.xml"/><Relationship Id="rId3" Type="http://schemas.openxmlformats.org/officeDocument/2006/relationships/slideLayout" Target="../slideLayouts/slideLayout99.xml"/><Relationship Id="rId21" Type="http://schemas.openxmlformats.org/officeDocument/2006/relationships/slideLayout" Target="../slideLayouts/slideLayout117.xml"/><Relationship Id="rId7" Type="http://schemas.openxmlformats.org/officeDocument/2006/relationships/slideLayout" Target="../slideLayouts/slideLayout103.xml"/><Relationship Id="rId12" Type="http://schemas.openxmlformats.org/officeDocument/2006/relationships/slideLayout" Target="../slideLayouts/slideLayout108.xml"/><Relationship Id="rId17" Type="http://schemas.openxmlformats.org/officeDocument/2006/relationships/slideLayout" Target="../slideLayouts/slideLayout113.xml"/><Relationship Id="rId2" Type="http://schemas.openxmlformats.org/officeDocument/2006/relationships/slideLayout" Target="../slideLayouts/slideLayout98.xml"/><Relationship Id="rId16" Type="http://schemas.openxmlformats.org/officeDocument/2006/relationships/slideLayout" Target="../slideLayouts/slideLayout112.xml"/><Relationship Id="rId20" Type="http://schemas.openxmlformats.org/officeDocument/2006/relationships/slideLayout" Target="../slideLayouts/slideLayout116.xml"/><Relationship Id="rId1" Type="http://schemas.openxmlformats.org/officeDocument/2006/relationships/slideLayout" Target="../slideLayouts/slideLayout97.xml"/><Relationship Id="rId6" Type="http://schemas.openxmlformats.org/officeDocument/2006/relationships/slideLayout" Target="../slideLayouts/slideLayout102.xml"/><Relationship Id="rId11" Type="http://schemas.openxmlformats.org/officeDocument/2006/relationships/slideLayout" Target="../slideLayouts/slideLayout107.xml"/><Relationship Id="rId5" Type="http://schemas.openxmlformats.org/officeDocument/2006/relationships/slideLayout" Target="../slideLayouts/slideLayout101.xml"/><Relationship Id="rId15" Type="http://schemas.openxmlformats.org/officeDocument/2006/relationships/slideLayout" Target="../slideLayouts/slideLayout111.xml"/><Relationship Id="rId10" Type="http://schemas.openxmlformats.org/officeDocument/2006/relationships/slideLayout" Target="../slideLayouts/slideLayout106.xml"/><Relationship Id="rId19" Type="http://schemas.openxmlformats.org/officeDocument/2006/relationships/slideLayout" Target="../slideLayouts/slideLayout115.xml"/><Relationship Id="rId4" Type="http://schemas.openxmlformats.org/officeDocument/2006/relationships/slideLayout" Target="../slideLayouts/slideLayout100.xml"/><Relationship Id="rId9" Type="http://schemas.openxmlformats.org/officeDocument/2006/relationships/slideLayout" Target="../slideLayouts/slideLayout105.xml"/><Relationship Id="rId14" Type="http://schemas.openxmlformats.org/officeDocument/2006/relationships/slideLayout" Target="../slideLayouts/slideLayout110.xml"/><Relationship Id="rId22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3" Type="http://schemas.openxmlformats.org/officeDocument/2006/relationships/slideLayout" Target="../slideLayouts/slideLayout120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119.xml"/><Relationship Id="rId1" Type="http://schemas.openxmlformats.org/officeDocument/2006/relationships/slideLayout" Target="../slideLayouts/slideLayout118.xml"/><Relationship Id="rId6" Type="http://schemas.openxmlformats.org/officeDocument/2006/relationships/theme" Target="../theme/theme7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122.xml"/><Relationship Id="rId10" Type="http://schemas.openxmlformats.org/officeDocument/2006/relationships/image" Target="../media/image21.emf"/><Relationship Id="rId4" Type="http://schemas.openxmlformats.org/officeDocument/2006/relationships/slideLayout" Target="../slideLayouts/slideLayout121.xml"/><Relationship Id="rId9" Type="http://schemas.openxmlformats.org/officeDocument/2006/relationships/oleObject" Target="../embeddings/oleObject1.bin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0.xml"/><Relationship Id="rId13" Type="http://schemas.openxmlformats.org/officeDocument/2006/relationships/slideLayout" Target="../slideLayouts/slideLayout135.xml"/><Relationship Id="rId18" Type="http://schemas.openxmlformats.org/officeDocument/2006/relationships/slideLayout" Target="../slideLayouts/slideLayout140.xml"/><Relationship Id="rId26" Type="http://schemas.openxmlformats.org/officeDocument/2006/relationships/theme" Target="../theme/theme8.xml"/><Relationship Id="rId3" Type="http://schemas.openxmlformats.org/officeDocument/2006/relationships/slideLayout" Target="../slideLayouts/slideLayout125.xml"/><Relationship Id="rId21" Type="http://schemas.openxmlformats.org/officeDocument/2006/relationships/slideLayout" Target="../slideLayouts/slideLayout143.xml"/><Relationship Id="rId7" Type="http://schemas.openxmlformats.org/officeDocument/2006/relationships/slideLayout" Target="../slideLayouts/slideLayout129.xml"/><Relationship Id="rId12" Type="http://schemas.openxmlformats.org/officeDocument/2006/relationships/slideLayout" Target="../slideLayouts/slideLayout134.xml"/><Relationship Id="rId17" Type="http://schemas.openxmlformats.org/officeDocument/2006/relationships/slideLayout" Target="../slideLayouts/slideLayout139.xml"/><Relationship Id="rId25" Type="http://schemas.openxmlformats.org/officeDocument/2006/relationships/slideLayout" Target="../slideLayouts/slideLayout147.xml"/><Relationship Id="rId2" Type="http://schemas.openxmlformats.org/officeDocument/2006/relationships/slideLayout" Target="../slideLayouts/slideLayout124.xml"/><Relationship Id="rId16" Type="http://schemas.openxmlformats.org/officeDocument/2006/relationships/slideLayout" Target="../slideLayouts/slideLayout138.xml"/><Relationship Id="rId20" Type="http://schemas.openxmlformats.org/officeDocument/2006/relationships/slideLayout" Target="../slideLayouts/slideLayout142.xml"/><Relationship Id="rId1" Type="http://schemas.openxmlformats.org/officeDocument/2006/relationships/slideLayout" Target="../slideLayouts/slideLayout123.xml"/><Relationship Id="rId6" Type="http://schemas.openxmlformats.org/officeDocument/2006/relationships/slideLayout" Target="../slideLayouts/slideLayout128.xml"/><Relationship Id="rId11" Type="http://schemas.openxmlformats.org/officeDocument/2006/relationships/slideLayout" Target="../slideLayouts/slideLayout133.xml"/><Relationship Id="rId24" Type="http://schemas.openxmlformats.org/officeDocument/2006/relationships/slideLayout" Target="../slideLayouts/slideLayout146.xml"/><Relationship Id="rId5" Type="http://schemas.openxmlformats.org/officeDocument/2006/relationships/slideLayout" Target="../slideLayouts/slideLayout127.xml"/><Relationship Id="rId15" Type="http://schemas.openxmlformats.org/officeDocument/2006/relationships/slideLayout" Target="../slideLayouts/slideLayout137.xml"/><Relationship Id="rId23" Type="http://schemas.openxmlformats.org/officeDocument/2006/relationships/slideLayout" Target="../slideLayouts/slideLayout145.xml"/><Relationship Id="rId10" Type="http://schemas.openxmlformats.org/officeDocument/2006/relationships/slideLayout" Target="../slideLayouts/slideLayout132.xml"/><Relationship Id="rId19" Type="http://schemas.openxmlformats.org/officeDocument/2006/relationships/slideLayout" Target="../slideLayouts/slideLayout141.xml"/><Relationship Id="rId4" Type="http://schemas.openxmlformats.org/officeDocument/2006/relationships/slideLayout" Target="../slideLayouts/slideLayout126.xml"/><Relationship Id="rId9" Type="http://schemas.openxmlformats.org/officeDocument/2006/relationships/slideLayout" Target="../slideLayouts/slideLayout131.xml"/><Relationship Id="rId14" Type="http://schemas.openxmlformats.org/officeDocument/2006/relationships/slideLayout" Target="../slideLayouts/slideLayout136.xml"/><Relationship Id="rId22" Type="http://schemas.openxmlformats.org/officeDocument/2006/relationships/slideLayout" Target="../slideLayouts/slideLayout144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5.xml"/><Relationship Id="rId13" Type="http://schemas.openxmlformats.org/officeDocument/2006/relationships/slideLayout" Target="../slideLayouts/slideLayout160.xml"/><Relationship Id="rId18" Type="http://schemas.openxmlformats.org/officeDocument/2006/relationships/slideLayout" Target="../slideLayouts/slideLayout165.xml"/><Relationship Id="rId3" Type="http://schemas.openxmlformats.org/officeDocument/2006/relationships/slideLayout" Target="../slideLayouts/slideLayout150.xml"/><Relationship Id="rId21" Type="http://schemas.openxmlformats.org/officeDocument/2006/relationships/theme" Target="../theme/theme9.xml"/><Relationship Id="rId7" Type="http://schemas.openxmlformats.org/officeDocument/2006/relationships/slideLayout" Target="../slideLayouts/slideLayout154.xml"/><Relationship Id="rId12" Type="http://schemas.openxmlformats.org/officeDocument/2006/relationships/slideLayout" Target="../slideLayouts/slideLayout159.xml"/><Relationship Id="rId17" Type="http://schemas.openxmlformats.org/officeDocument/2006/relationships/slideLayout" Target="../slideLayouts/slideLayout164.xml"/><Relationship Id="rId2" Type="http://schemas.openxmlformats.org/officeDocument/2006/relationships/slideLayout" Target="../slideLayouts/slideLayout149.xml"/><Relationship Id="rId16" Type="http://schemas.openxmlformats.org/officeDocument/2006/relationships/slideLayout" Target="../slideLayouts/slideLayout163.xml"/><Relationship Id="rId20" Type="http://schemas.openxmlformats.org/officeDocument/2006/relationships/slideLayout" Target="../slideLayouts/slideLayout167.xml"/><Relationship Id="rId1" Type="http://schemas.openxmlformats.org/officeDocument/2006/relationships/slideLayout" Target="../slideLayouts/slideLayout148.xml"/><Relationship Id="rId6" Type="http://schemas.openxmlformats.org/officeDocument/2006/relationships/slideLayout" Target="../slideLayouts/slideLayout153.xml"/><Relationship Id="rId11" Type="http://schemas.openxmlformats.org/officeDocument/2006/relationships/slideLayout" Target="../slideLayouts/slideLayout158.xml"/><Relationship Id="rId5" Type="http://schemas.openxmlformats.org/officeDocument/2006/relationships/slideLayout" Target="../slideLayouts/slideLayout152.xml"/><Relationship Id="rId15" Type="http://schemas.openxmlformats.org/officeDocument/2006/relationships/slideLayout" Target="../slideLayouts/slideLayout162.xml"/><Relationship Id="rId10" Type="http://schemas.openxmlformats.org/officeDocument/2006/relationships/slideLayout" Target="../slideLayouts/slideLayout157.xml"/><Relationship Id="rId19" Type="http://schemas.openxmlformats.org/officeDocument/2006/relationships/slideLayout" Target="../slideLayouts/slideLayout166.xml"/><Relationship Id="rId4" Type="http://schemas.openxmlformats.org/officeDocument/2006/relationships/slideLayout" Target="../slideLayouts/slideLayout151.xml"/><Relationship Id="rId9" Type="http://schemas.openxmlformats.org/officeDocument/2006/relationships/slideLayout" Target="../slideLayouts/slideLayout156.xml"/><Relationship Id="rId14" Type="http://schemas.openxmlformats.org/officeDocument/2006/relationships/slideLayout" Target="../slideLayouts/slideLayout161.xml"/><Relationship Id="rId22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157604"/>
            <a:ext cx="9640389" cy="47960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853440"/>
            <a:ext cx="11181806" cy="55029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3203" y="287679"/>
            <a:ext cx="1682499" cy="219456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049000" y="6356350"/>
            <a:ext cx="742406" cy="3463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7E05BFB-5438-4B30-80F1-D818097254A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95405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3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accent1">
              <a:lumMod val="50000"/>
            </a:schemeClr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7"/>
          <a:stretch>
            <a:fillRect/>
          </a:stretch>
        </p:blipFill>
        <p:spPr>
          <a:xfrm rot="5400000">
            <a:off x="9208748" y="2991033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804886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74" r:id="rId1"/>
    <p:sldLayoutId id="2147483975" r:id="rId2"/>
    <p:sldLayoutId id="2147483976" r:id="rId3"/>
    <p:sldLayoutId id="2147483977" r:id="rId4"/>
    <p:sldLayoutId id="2147483978" r:id="rId5"/>
    <p:sldLayoutId id="2147483979" r:id="rId6"/>
    <p:sldLayoutId id="2147483980" r:id="rId7"/>
    <p:sldLayoutId id="2147483981" r:id="rId8"/>
    <p:sldLayoutId id="2147483982" r:id="rId9"/>
    <p:sldLayoutId id="2147483983" r:id="rId10"/>
    <p:sldLayoutId id="2147483984" r:id="rId11"/>
    <p:sldLayoutId id="2147483985" r:id="rId12"/>
    <p:sldLayoutId id="2147483986" r:id="rId13"/>
    <p:sldLayoutId id="2147483987" r:id="rId14"/>
    <p:sldLayoutId id="2147483988" r:id="rId15"/>
    <p:sldLayoutId id="2147483989" r:id="rId16"/>
    <p:sldLayoutId id="2147483990" r:id="rId17"/>
    <p:sldLayoutId id="2147483991" r:id="rId18"/>
    <p:sldLayoutId id="2147483992" r:id="rId19"/>
    <p:sldLayoutId id="2147483993" r:id="rId20"/>
    <p:sldLayoutId id="2147483994" r:id="rId21"/>
    <p:sldLayoutId id="2147483995" r:id="rId22"/>
    <p:sldLayoutId id="2147483996" r:id="rId23"/>
    <p:sldLayoutId id="2147483997" r:id="rId24"/>
    <p:sldLayoutId id="2147483998" r:id="rId25"/>
    <p:sldLayoutId id="2147483999" r:id="rId26"/>
    <p:sldLayoutId id="2147484000" r:id="rId27"/>
    <p:sldLayoutId id="2147484001" r:id="rId28"/>
    <p:sldLayoutId id="2147484002" r:id="rId29"/>
    <p:sldLayoutId id="2147484003" r:id="rId30"/>
    <p:sldLayoutId id="2147484004" r:id="rId31"/>
    <p:sldLayoutId id="2147484005" r:id="rId32"/>
    <p:sldLayoutId id="2147484006" r:id="rId33"/>
    <p:sldLayoutId id="2147484007" r:id="rId34"/>
    <p:sldLayoutId id="2147484008" r:id="rId35"/>
  </p:sldLayoutIdLst>
  <p:transition>
    <p:fade/>
  </p:transition>
  <p:hf hdr="0" ftr="0" dt="0"/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145" marR="0" indent="-336145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691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338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9017" y="289515"/>
            <a:ext cx="11473968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359016" y="1189181"/>
            <a:ext cx="11473970" cy="2603325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8"/>
          <a:stretch>
            <a:fillRect/>
          </a:stretch>
        </p:blipFill>
        <p:spPr>
          <a:xfrm rot="5400000">
            <a:off x="9208748" y="2991033"/>
            <a:ext cx="6858623" cy="8765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08438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2" r:id="rId1"/>
    <p:sldLayoutId id="2147484013" r:id="rId2"/>
    <p:sldLayoutId id="2147484014" r:id="rId3"/>
    <p:sldLayoutId id="2147484015" r:id="rId4"/>
    <p:sldLayoutId id="2147484016" r:id="rId5"/>
    <p:sldLayoutId id="2147484017" r:id="rId6"/>
    <p:sldLayoutId id="2147484018" r:id="rId7"/>
    <p:sldLayoutId id="2147484019" r:id="rId8"/>
    <p:sldLayoutId id="2147484020" r:id="rId9"/>
    <p:sldLayoutId id="2147484021" r:id="rId10"/>
    <p:sldLayoutId id="2147484022" r:id="rId11"/>
    <p:sldLayoutId id="2147484023" r:id="rId12"/>
    <p:sldLayoutId id="2147484024" r:id="rId13"/>
    <p:sldLayoutId id="2147484025" r:id="rId14"/>
    <p:sldLayoutId id="2147484026" r:id="rId15"/>
    <p:sldLayoutId id="2147484027" r:id="rId16"/>
    <p:sldLayoutId id="2147484028" r:id="rId17"/>
    <p:sldLayoutId id="2147484029" r:id="rId18"/>
    <p:sldLayoutId id="2147484030" r:id="rId19"/>
    <p:sldLayoutId id="2147484031" r:id="rId20"/>
    <p:sldLayoutId id="2147484032" r:id="rId21"/>
    <p:sldLayoutId id="2147484033" r:id="rId22"/>
    <p:sldLayoutId id="2147484034" r:id="rId23"/>
    <p:sldLayoutId id="2147484035" r:id="rId24"/>
    <p:sldLayoutId id="2147484036" r:id="rId25"/>
    <p:sldLayoutId id="2147484037" r:id="rId26"/>
  </p:sldLayoutIdLst>
  <p:transition>
    <p:fade/>
  </p:transition>
  <p:hf hdr="0" ftr="0" dt="0"/>
  <p:txStyles>
    <p:titleStyle>
      <a:lvl1pPr algn="l" defTabSz="914408" rtl="0" eaLnBrk="1" latinLnBrk="0" hangingPunct="1">
        <a:lnSpc>
          <a:spcPct val="90000"/>
        </a:lnSpc>
        <a:spcBef>
          <a:spcPct val="0"/>
        </a:spcBef>
        <a:buNone/>
        <a:defRPr lang="en-US" sz="5753" b="0" kern="1200" cap="none" spc="-99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161" marR="0" indent="-336161" algn="l" defTabSz="91440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4706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603924" marR="0" indent="-267720" algn="l" defTabSz="91440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138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823910" marR="0" indent="-222062" algn="l" defTabSz="91440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61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43896" marR="0" indent="-222062" algn="l" defTabSz="91440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195396" marR="0" indent="-222062" algn="l" defTabSz="91440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623" indent="-228603" algn="l" defTabSz="914408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829" indent="-228603" algn="l" defTabSz="914408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9033" indent="-228603" algn="l" defTabSz="914408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239" indent="-228603" algn="l" defTabSz="914408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8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205" algn="l" defTabSz="914408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408" algn="l" defTabSz="914408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614" algn="l" defTabSz="914408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817" algn="l" defTabSz="914408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6023" algn="l" defTabSz="914408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226" algn="l" defTabSz="914408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430" algn="l" defTabSz="914408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637" algn="l" defTabSz="914408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231">
          <p15:clr>
            <a:srgbClr val="5ACBF0"/>
          </p15:clr>
        </p15:guide>
        <p15:guide id="3" pos="999">
          <p15:clr>
            <a:srgbClr val="5ACBF0"/>
          </p15:clr>
        </p15:guide>
        <p15:guide id="4" pos="1767">
          <p15:clr>
            <a:srgbClr val="5ACBF0"/>
          </p15:clr>
        </p15:guide>
        <p15:guide id="5" pos="2535">
          <p15:clr>
            <a:srgbClr val="5ACBF0"/>
          </p15:clr>
        </p15:guide>
        <p15:guide id="6" pos="3303">
          <p15:clr>
            <a:srgbClr val="5ACBF0"/>
          </p15:clr>
        </p15:guide>
        <p15:guide id="8" pos="4070">
          <p15:clr>
            <a:srgbClr val="5ACBF0"/>
          </p15:clr>
        </p15:guide>
        <p15:guide id="9" pos="4838">
          <p15:clr>
            <a:srgbClr val="5ACBF0"/>
          </p15:clr>
        </p15:guide>
        <p15:guide id="11" pos="5606">
          <p15:clr>
            <a:srgbClr val="5ACBF0"/>
          </p15:clr>
        </p15:guide>
        <p15:guide id="12" pos="6374">
          <p15:clr>
            <a:srgbClr val="5ACBF0"/>
          </p15:clr>
        </p15:guide>
        <p15:guide id="14" pos="7142">
          <p15:clr>
            <a:srgbClr val="5ACBF0"/>
          </p15:clr>
        </p15:guide>
        <p15:guide id="15" pos="7602">
          <p15:clr>
            <a:srgbClr val="5ACBF0"/>
          </p15:clr>
        </p15:guide>
        <p15:guide id="16" pos="384">
          <p15:clr>
            <a:srgbClr val="C35EA4"/>
          </p15:clr>
        </p15:guide>
        <p15:guide id="17" pos="7449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184808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4"/>
          <a:stretch>
            <a:fillRect/>
          </a:stretch>
        </p:blipFill>
        <p:spPr>
          <a:xfrm rot="5400000">
            <a:off x="9302126" y="2991033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125204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9" r:id="rId3"/>
    <p:sldLayoutId id="2147483670" r:id="rId4"/>
    <p:sldLayoutId id="2147483671" r:id="rId5"/>
    <p:sldLayoutId id="2147483672" r:id="rId6"/>
    <p:sldLayoutId id="2147483673" r:id="rId7"/>
    <p:sldLayoutId id="2147483674" r:id="rId8"/>
    <p:sldLayoutId id="2147483675" r:id="rId9"/>
    <p:sldLayoutId id="2147483676" r:id="rId10"/>
    <p:sldLayoutId id="2147483677" r:id="rId11"/>
    <p:sldLayoutId id="2147483678" r:id="rId12"/>
    <p:sldLayoutId id="2147483679" r:id="rId13"/>
    <p:sldLayoutId id="2147483680" r:id="rId14"/>
    <p:sldLayoutId id="2147483681" r:id="rId15"/>
    <p:sldLayoutId id="2147483682" r:id="rId16"/>
    <p:sldLayoutId id="2147483683" r:id="rId17"/>
    <p:sldLayoutId id="2147483684" r:id="rId18"/>
    <p:sldLayoutId id="2147483687" r:id="rId19"/>
    <p:sldLayoutId id="2147483688" r:id="rId20"/>
    <p:sldLayoutId id="2147483689" r:id="rId21"/>
    <p:sldLayoutId id="2147483690" r:id="rId22"/>
  </p:sldLayoutIdLst>
  <p:transition>
    <p:fade/>
  </p:transition>
  <p:hf hdr="0" ftr="0" dt="0"/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5294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145" marR="0" indent="-336145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392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691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338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661">
          <p15:clr>
            <a:srgbClr val="5ACBF0"/>
          </p15:clr>
        </p15:guide>
        <p15:guide id="4" orient="horz" pos="4219">
          <p15:clr>
            <a:srgbClr val="5ACBF0"/>
          </p15:clr>
        </p15:guide>
        <p15:guide id="5" pos="749">
          <p15:clr>
            <a:srgbClr val="5ACBF0"/>
          </p15:clr>
        </p15:guide>
        <p15:guide id="6" pos="1325">
          <p15:clr>
            <a:srgbClr val="5ACBF0"/>
          </p15:clr>
        </p15:guide>
        <p15:guide id="7" pos="1901">
          <p15:clr>
            <a:srgbClr val="5ACBF0"/>
          </p15:clr>
        </p15:guide>
        <p15:guide id="8" pos="2477">
          <p15:clr>
            <a:srgbClr val="5ACBF0"/>
          </p15:clr>
        </p15:guide>
        <p15:guide id="9" pos="3053">
          <p15:clr>
            <a:srgbClr val="5ACBF0"/>
          </p15:clr>
        </p15:guide>
        <p15:guide id="10" pos="3629">
          <p15:clr>
            <a:srgbClr val="5ACBF0"/>
          </p15:clr>
        </p15:guide>
        <p15:guide id="11" pos="4205">
          <p15:clr>
            <a:srgbClr val="5ACBF0"/>
          </p15:clr>
        </p15:guide>
        <p15:guide id="12" pos="4781">
          <p15:clr>
            <a:srgbClr val="5ACBF0"/>
          </p15:clr>
        </p15:guide>
        <p15:guide id="13" pos="5357">
          <p15:clr>
            <a:srgbClr val="5ACBF0"/>
          </p15:clr>
        </p15:guide>
        <p15:guide id="14" pos="5933">
          <p15:clr>
            <a:srgbClr val="5ACBF0"/>
          </p15:clr>
        </p15:guide>
        <p15:guide id="15" pos="6509">
          <p15:clr>
            <a:srgbClr val="5ACBF0"/>
          </p15:clr>
        </p15:guide>
        <p15:guide id="16" pos="7085">
          <p15:clr>
            <a:srgbClr val="5ACBF0"/>
          </p15:clr>
        </p15:guide>
        <p15:guide id="17" orient="horz" pos="763">
          <p15:clr>
            <a:srgbClr val="5ACBF0"/>
          </p15:clr>
        </p15:guide>
        <p15:guide id="18" orient="horz" pos="1339">
          <p15:clr>
            <a:srgbClr val="5ACBF0"/>
          </p15:clr>
        </p15:guide>
        <p15:guide id="19" orient="horz" pos="1915">
          <p15:clr>
            <a:srgbClr val="5ACBF0"/>
          </p15:clr>
        </p15:guide>
        <p15:guide id="20" orient="horz" pos="2491">
          <p15:clr>
            <a:srgbClr val="5ACBF0"/>
          </p15:clr>
        </p15:guide>
        <p15:guide id="21" orient="horz" pos="3067">
          <p15:clr>
            <a:srgbClr val="5ACBF0"/>
          </p15:clr>
        </p15:guide>
        <p15:guide id="22" orient="horz" pos="3643">
          <p15:clr>
            <a:srgbClr val="5ACBF0"/>
          </p15:clr>
        </p15:guide>
        <p15:guide id="23" pos="288">
          <p15:clr>
            <a:srgbClr val="C35EA4"/>
          </p15:clr>
        </p15:guide>
        <p15:guide id="24" pos="7546">
          <p15:clr>
            <a:srgbClr val="C35EA4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19250" y="228602"/>
            <a:ext cx="11151917" cy="747897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520837" y="1447802"/>
            <a:ext cx="11155094" cy="20559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81CF616-2147-47D1-AC15-426E79233E4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11343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7" r:id="rId1"/>
    <p:sldLayoutId id="2147483758" r:id="rId2"/>
    <p:sldLayoutId id="2147483759" r:id="rId3"/>
    <p:sldLayoutId id="2147483760" r:id="rId4"/>
    <p:sldLayoutId id="2147483761" r:id="rId5"/>
    <p:sldLayoutId id="2147483762" r:id="rId6"/>
    <p:sldLayoutId id="2147483763" r:id="rId7"/>
    <p:sldLayoutId id="2147483764" r:id="rId8"/>
    <p:sldLayoutId id="2147483765" r:id="rId9"/>
    <p:sldLayoutId id="2147483766" r:id="rId10"/>
    <p:sldLayoutId id="2147483767" r:id="rId11"/>
    <p:sldLayoutId id="2147483768" r:id="rId12"/>
    <p:sldLayoutId id="2147483769" r:id="rId13"/>
    <p:sldLayoutId id="2147483770" r:id="rId14"/>
    <p:sldLayoutId id="2147483771" r:id="rId15"/>
    <p:sldLayoutId id="2147483772" r:id="rId16"/>
    <p:sldLayoutId id="2147483773" r:id="rId17"/>
    <p:sldLayoutId id="2147484038" r:id="rId18"/>
    <p:sldLayoutId id="2147483774" r:id="rId19"/>
    <p:sldLayoutId id="2147483775" r:id="rId20"/>
    <p:sldLayoutId id="2147483776" r:id="rId21"/>
    <p:sldLayoutId id="2147483777" r:id="rId22"/>
    <p:sldLayoutId id="2147484041" r:id="rId23"/>
  </p:sldLayoutIdLst>
  <p:transition>
    <p:fade/>
  </p:transition>
  <p:hf hdr="0" ftr="0" dt="0"/>
  <p:txStyles>
    <p:titleStyle>
      <a:lvl1pPr algn="l" defTabSz="912847" rtl="0" eaLnBrk="1" latinLnBrk="0" hangingPunct="1">
        <a:lnSpc>
          <a:spcPct val="90000"/>
        </a:lnSpc>
        <a:spcBef>
          <a:spcPct val="0"/>
        </a:spcBef>
        <a:buNone/>
        <a:defRPr lang="en-US" sz="5499" b="0" kern="1200" cap="none" spc="-100" baseline="0" dirty="0" smtClean="0">
          <a:ln w="3175">
            <a:noFill/>
          </a:ln>
          <a:gradFill>
            <a:gsLst>
              <a:gs pos="1250">
                <a:schemeClr val="tx2"/>
              </a:gs>
              <a:gs pos="100000">
                <a:schemeClr val="tx2"/>
              </a:gs>
            </a:gsLst>
            <a:lin ang="5400000" scaled="0"/>
          </a:gradFill>
          <a:effectLst/>
          <a:latin typeface="+mj-lt"/>
          <a:ea typeface="+mn-ea"/>
          <a:cs typeface="Arial" charset="0"/>
        </a:defRPr>
      </a:lvl1pPr>
    </p:titleStyle>
    <p:bodyStyle>
      <a:lvl1pPr marL="339162" marR="0" indent="-339162" algn="l" defTabSz="91284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80000"/>
        <a:buFont typeface="Arial" pitchFamily="34" charset="0"/>
        <a:buChar char="•"/>
        <a:tabLst/>
        <a:defRPr sz="3600" kern="1200" spc="-71" baseline="0">
          <a:gradFill>
            <a:gsLst>
              <a:gs pos="1250">
                <a:schemeClr val="bg2"/>
              </a:gs>
              <a:gs pos="100000">
                <a:schemeClr val="bg2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137" marR="0" indent="-232976" algn="l" defTabSz="91284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itchFamily="2" charset="2"/>
        <a:buChar char=""/>
        <a:tabLst/>
        <a:defRPr sz="2400" kern="1200" spc="0" baseline="0">
          <a:gradFill>
            <a:gsLst>
              <a:gs pos="1250">
                <a:schemeClr val="bg2"/>
              </a:gs>
              <a:gs pos="100000">
                <a:schemeClr val="bg2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97189" marR="0" indent="-225050" algn="l" defTabSz="91284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itchFamily="2" charset="2"/>
        <a:buChar char=""/>
        <a:tabLst>
          <a:tab pos="797189" algn="l"/>
        </a:tabLst>
        <a:defRPr sz="2400" kern="1200" spc="0" baseline="0">
          <a:gradFill>
            <a:gsLst>
              <a:gs pos="1250">
                <a:schemeClr val="bg2"/>
              </a:gs>
              <a:gs pos="100000">
                <a:schemeClr val="bg2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580" marR="0" indent="-231390" algn="l" defTabSz="91284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itchFamily="2" charset="2"/>
        <a:buChar char=""/>
        <a:tabLst/>
        <a:defRPr sz="2000" kern="1200" spc="0" baseline="0">
          <a:gradFill>
            <a:gsLst>
              <a:gs pos="1250">
                <a:schemeClr val="bg2"/>
              </a:gs>
              <a:gs pos="100000">
                <a:schemeClr val="bg2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3630" marR="0" indent="-225050" algn="l" defTabSz="91284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itchFamily="2" charset="2"/>
        <a:buChar char=""/>
        <a:tabLst>
          <a:tab pos="1253630" algn="l"/>
        </a:tabLst>
        <a:defRPr sz="2000" kern="1200" spc="0" baseline="0">
          <a:gradFill>
            <a:gsLst>
              <a:gs pos="1250">
                <a:schemeClr val="bg2"/>
              </a:gs>
              <a:gs pos="100000">
                <a:schemeClr val="bg2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0329" indent="-228212" algn="l" defTabSz="91284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66752" indent="-228212" algn="l" defTabSz="91284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3175" indent="-228212" algn="l" defTabSz="91284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79599" indent="-228212" algn="l" defTabSz="91284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284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6424" algn="l" defTabSz="91284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2847" algn="l" defTabSz="91284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270" algn="l" defTabSz="91284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693" algn="l" defTabSz="91284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2117" algn="l" defTabSz="91284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38540" algn="l" defTabSz="91284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4964" algn="l" defTabSz="91284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1388" algn="l" defTabSz="91284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184808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1"/>
          <a:stretch>
            <a:fillRect/>
          </a:stretch>
        </p:blipFill>
        <p:spPr>
          <a:xfrm rot="5400000">
            <a:off x="9302126" y="2991033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10856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95" r:id="rId1"/>
    <p:sldLayoutId id="2147483796" r:id="rId2"/>
    <p:sldLayoutId id="2147483797" r:id="rId3"/>
    <p:sldLayoutId id="2147483798" r:id="rId4"/>
    <p:sldLayoutId id="2147483799" r:id="rId5"/>
    <p:sldLayoutId id="2147483800" r:id="rId6"/>
    <p:sldLayoutId id="2147483801" r:id="rId7"/>
    <p:sldLayoutId id="2147483802" r:id="rId8"/>
    <p:sldLayoutId id="2147483803" r:id="rId9"/>
    <p:sldLayoutId id="2147483804" r:id="rId10"/>
    <p:sldLayoutId id="2147483805" r:id="rId11"/>
    <p:sldLayoutId id="2147483806" r:id="rId12"/>
    <p:sldLayoutId id="2147483807" r:id="rId13"/>
    <p:sldLayoutId id="2147483808" r:id="rId14"/>
    <p:sldLayoutId id="2147483809" r:id="rId15"/>
    <p:sldLayoutId id="2147483810" r:id="rId16"/>
    <p:sldLayoutId id="2147483811" r:id="rId17"/>
    <p:sldLayoutId id="2147483812" r:id="rId18"/>
    <p:sldLayoutId id="2147483813" r:id="rId19"/>
    <p:sldLayoutId id="2147483814" r:id="rId20"/>
    <p:sldLayoutId id="2147483815" r:id="rId21"/>
    <p:sldLayoutId id="2147483816" r:id="rId22"/>
    <p:sldLayoutId id="2147483817" r:id="rId23"/>
    <p:sldLayoutId id="2147483818" r:id="rId24"/>
    <p:sldLayoutId id="2147483819" r:id="rId25"/>
    <p:sldLayoutId id="2147483820" r:id="rId26"/>
    <p:sldLayoutId id="2147483821" r:id="rId27"/>
    <p:sldLayoutId id="2147483822" r:id="rId28"/>
    <p:sldLayoutId id="2147483823" r:id="rId29"/>
  </p:sldLayoutIdLst>
  <p:transition>
    <p:fade/>
  </p:transition>
  <p:hf hdr="0" ftr="0" dt="0"/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5294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145" marR="0" indent="-336145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392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691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338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661">
          <p15:clr>
            <a:srgbClr val="5ACBF0"/>
          </p15:clr>
        </p15:guide>
        <p15:guide id="4" orient="horz" pos="4219">
          <p15:clr>
            <a:srgbClr val="5ACBF0"/>
          </p15:clr>
        </p15:guide>
        <p15:guide id="5" pos="749">
          <p15:clr>
            <a:srgbClr val="5ACBF0"/>
          </p15:clr>
        </p15:guide>
        <p15:guide id="6" pos="1325">
          <p15:clr>
            <a:srgbClr val="5ACBF0"/>
          </p15:clr>
        </p15:guide>
        <p15:guide id="7" pos="1901">
          <p15:clr>
            <a:srgbClr val="5ACBF0"/>
          </p15:clr>
        </p15:guide>
        <p15:guide id="8" pos="2477">
          <p15:clr>
            <a:srgbClr val="5ACBF0"/>
          </p15:clr>
        </p15:guide>
        <p15:guide id="9" pos="3053">
          <p15:clr>
            <a:srgbClr val="5ACBF0"/>
          </p15:clr>
        </p15:guide>
        <p15:guide id="10" pos="3629">
          <p15:clr>
            <a:srgbClr val="5ACBF0"/>
          </p15:clr>
        </p15:guide>
        <p15:guide id="11" pos="4205">
          <p15:clr>
            <a:srgbClr val="5ACBF0"/>
          </p15:clr>
        </p15:guide>
        <p15:guide id="12" pos="4781">
          <p15:clr>
            <a:srgbClr val="5ACBF0"/>
          </p15:clr>
        </p15:guide>
        <p15:guide id="13" pos="5357">
          <p15:clr>
            <a:srgbClr val="5ACBF0"/>
          </p15:clr>
        </p15:guide>
        <p15:guide id="14" pos="5933">
          <p15:clr>
            <a:srgbClr val="5ACBF0"/>
          </p15:clr>
        </p15:guide>
        <p15:guide id="15" pos="6509">
          <p15:clr>
            <a:srgbClr val="5ACBF0"/>
          </p15:clr>
        </p15:guide>
        <p15:guide id="16" pos="7085">
          <p15:clr>
            <a:srgbClr val="5ACBF0"/>
          </p15:clr>
        </p15:guide>
        <p15:guide id="17" orient="horz" pos="763">
          <p15:clr>
            <a:srgbClr val="5ACBF0"/>
          </p15:clr>
        </p15:guide>
        <p15:guide id="18" orient="horz" pos="1339">
          <p15:clr>
            <a:srgbClr val="5ACBF0"/>
          </p15:clr>
        </p15:guide>
        <p15:guide id="19" orient="horz" pos="1915">
          <p15:clr>
            <a:srgbClr val="5ACBF0"/>
          </p15:clr>
        </p15:guide>
        <p15:guide id="20" orient="horz" pos="2491">
          <p15:clr>
            <a:srgbClr val="5ACBF0"/>
          </p15:clr>
        </p15:guide>
        <p15:guide id="21" orient="horz" pos="3067">
          <p15:clr>
            <a:srgbClr val="5ACBF0"/>
          </p15:clr>
        </p15:guide>
        <p15:guide id="22" orient="horz" pos="3643">
          <p15:clr>
            <a:srgbClr val="5ACBF0"/>
          </p15:clr>
        </p15:guide>
        <p15:guide id="23" pos="288">
          <p15:clr>
            <a:srgbClr val="C35EA4"/>
          </p15:clr>
        </p15:guide>
        <p15:guide id="24" pos="7546">
          <p15:clr>
            <a:srgbClr val="C35EA4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9017" y="289515"/>
            <a:ext cx="11473968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359016" y="1189181"/>
            <a:ext cx="11473970" cy="2603325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2"/>
          <a:stretch>
            <a:fillRect/>
          </a:stretch>
        </p:blipFill>
        <p:spPr>
          <a:xfrm rot="5400000">
            <a:off x="9208748" y="2991033"/>
            <a:ext cx="6858623" cy="8765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683506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56" r:id="rId1"/>
    <p:sldLayoutId id="2147483857" r:id="rId2"/>
    <p:sldLayoutId id="2147483858" r:id="rId3"/>
    <p:sldLayoutId id="2147483859" r:id="rId4"/>
    <p:sldLayoutId id="2147483860" r:id="rId5"/>
    <p:sldLayoutId id="2147483861" r:id="rId6"/>
    <p:sldLayoutId id="2147483862" r:id="rId7"/>
    <p:sldLayoutId id="2147483863" r:id="rId8"/>
    <p:sldLayoutId id="2147483864" r:id="rId9"/>
    <p:sldLayoutId id="2147483865" r:id="rId10"/>
    <p:sldLayoutId id="2147483866" r:id="rId11"/>
    <p:sldLayoutId id="2147483867" r:id="rId12"/>
    <p:sldLayoutId id="2147483868" r:id="rId13"/>
    <p:sldLayoutId id="2147483869" r:id="rId14"/>
    <p:sldLayoutId id="2147483870" r:id="rId15"/>
    <p:sldLayoutId id="2147483871" r:id="rId16"/>
    <p:sldLayoutId id="2147483872" r:id="rId17"/>
    <p:sldLayoutId id="2147483873" r:id="rId18"/>
    <p:sldLayoutId id="2147483874" r:id="rId19"/>
    <p:sldLayoutId id="2147483875" r:id="rId20"/>
  </p:sldLayoutIdLst>
  <p:transition>
    <p:fade/>
  </p:transition>
  <p:hf hdr="0" ftr="0" dt="0"/>
  <p:txStyles>
    <p:titleStyle>
      <a:lvl1pPr algn="l" defTabSz="914408" rtl="0" eaLnBrk="1" latinLnBrk="0" hangingPunct="1">
        <a:lnSpc>
          <a:spcPct val="90000"/>
        </a:lnSpc>
        <a:spcBef>
          <a:spcPct val="0"/>
        </a:spcBef>
        <a:buNone/>
        <a:defRPr lang="en-US" sz="5753" b="0" kern="1200" cap="none" spc="-99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161" marR="0" indent="-336161" algn="l" defTabSz="91440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4706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603924" marR="0" indent="-267720" algn="l" defTabSz="91440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138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823910" marR="0" indent="-222062" algn="l" defTabSz="91440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61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43896" marR="0" indent="-222062" algn="l" defTabSz="91440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195396" marR="0" indent="-222062" algn="l" defTabSz="91440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623" indent="-228603" algn="l" defTabSz="914408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829" indent="-228603" algn="l" defTabSz="914408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9033" indent="-228603" algn="l" defTabSz="914408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239" indent="-228603" algn="l" defTabSz="914408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8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205" algn="l" defTabSz="914408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408" algn="l" defTabSz="914408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614" algn="l" defTabSz="914408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817" algn="l" defTabSz="914408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6023" algn="l" defTabSz="914408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226" algn="l" defTabSz="914408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430" algn="l" defTabSz="914408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637" algn="l" defTabSz="914408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231">
          <p15:clr>
            <a:srgbClr val="5ACBF0"/>
          </p15:clr>
        </p15:guide>
        <p15:guide id="3" pos="999">
          <p15:clr>
            <a:srgbClr val="5ACBF0"/>
          </p15:clr>
        </p15:guide>
        <p15:guide id="4" pos="1767">
          <p15:clr>
            <a:srgbClr val="5ACBF0"/>
          </p15:clr>
        </p15:guide>
        <p15:guide id="5" pos="2535">
          <p15:clr>
            <a:srgbClr val="5ACBF0"/>
          </p15:clr>
        </p15:guide>
        <p15:guide id="6" pos="3303">
          <p15:clr>
            <a:srgbClr val="5ACBF0"/>
          </p15:clr>
        </p15:guide>
        <p15:guide id="7" pos="4070">
          <p15:clr>
            <a:srgbClr val="5ACBF0"/>
          </p15:clr>
        </p15:guide>
        <p15:guide id="8" pos="4838">
          <p15:clr>
            <a:srgbClr val="5ACBF0"/>
          </p15:clr>
        </p15:guide>
        <p15:guide id="9" pos="5606">
          <p15:clr>
            <a:srgbClr val="5ACBF0"/>
          </p15:clr>
        </p15:guide>
        <p15:guide id="10" pos="6374">
          <p15:clr>
            <a:srgbClr val="5ACBF0"/>
          </p15:clr>
        </p15:guide>
        <p15:guide id="11" pos="7142">
          <p15:clr>
            <a:srgbClr val="5ACBF0"/>
          </p15:clr>
        </p15:guide>
        <p15:guide id="12" pos="7602">
          <p15:clr>
            <a:srgbClr val="5ACBF0"/>
          </p15:clr>
        </p15:guide>
        <p15:guide id="13" pos="384">
          <p15:clr>
            <a:srgbClr val="C35EA4"/>
          </p15:clr>
        </p15:guide>
        <p15:guide id="14" pos="7449">
          <p15:clr>
            <a:srgbClr val="C35EA4"/>
          </p15:clr>
        </p15:guide>
        <p15:guide id="15" orient="horz" pos="763">
          <p15:clr>
            <a:srgbClr val="5ACBF0"/>
          </p15:clr>
        </p15:guide>
        <p15:guide id="16" orient="horz" pos="1339">
          <p15:clr>
            <a:srgbClr val="5ACBF0"/>
          </p15:clr>
        </p15:guide>
        <p15:guide id="17" orient="horz" pos="1915">
          <p15:clr>
            <a:srgbClr val="5ACBF0"/>
          </p15:clr>
        </p15:guide>
        <p15:guide id="18" orient="horz" pos="2491">
          <p15:clr>
            <a:srgbClr val="5ACBF0"/>
          </p15:clr>
        </p15:guide>
        <p15:guide id="19" orient="horz" pos="3067">
          <p15:clr>
            <a:srgbClr val="5ACBF0"/>
          </p15:clr>
        </p15:guide>
        <p15:guide id="20" orient="horz" pos="3643">
          <p15:clr>
            <a:srgbClr val="5ACBF0"/>
          </p15:clr>
        </p15:guide>
        <p15:guide id="21" orient="horz" pos="4219">
          <p15:clr>
            <a:srgbClr val="5ACBF0"/>
          </p15:clr>
        </p15:guide>
        <p15:guide id="22" orient="horz" pos="302">
          <p15:clr>
            <a:srgbClr val="C35EA4"/>
          </p15:clr>
        </p15:guide>
        <p15:guide id="23" orient="horz" pos="4104">
          <p15:clr>
            <a:srgbClr val="C35EA4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9449810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77" r:id="rId1"/>
    <p:sldLayoutId id="2147483878" r:id="rId2"/>
    <p:sldLayoutId id="2147483879" r:id="rId3"/>
    <p:sldLayoutId id="2147483880" r:id="rId4"/>
    <p:sldLayoutId id="2147483881" r:id="rId5"/>
    <p:sldLayoutId id="2147483882" r:id="rId6"/>
    <p:sldLayoutId id="2147483883" r:id="rId7"/>
    <p:sldLayoutId id="2147483884" r:id="rId8"/>
    <p:sldLayoutId id="2147483885" r:id="rId9"/>
    <p:sldLayoutId id="2147483886" r:id="rId10"/>
    <p:sldLayoutId id="2147483887" r:id="rId11"/>
    <p:sldLayoutId id="2147483888" r:id="rId12"/>
    <p:sldLayoutId id="2147483889" r:id="rId13"/>
    <p:sldLayoutId id="2147483890" r:id="rId14"/>
    <p:sldLayoutId id="2147483891" r:id="rId15"/>
    <p:sldLayoutId id="2147483892" r:id="rId16"/>
    <p:sldLayoutId id="2147483893" r:id="rId17"/>
    <p:sldLayoutId id="2147483894" r:id="rId18"/>
    <p:sldLayoutId id="2147483895" r:id="rId19"/>
    <p:sldLayoutId id="2147483896" r:id="rId20"/>
    <p:sldLayoutId id="2147483898" r:id="rId21"/>
  </p:sldLayoutIdLst>
  <p:transition>
    <p:fade/>
  </p:transition>
  <p:hf hdr="0" ftr="0" dt="0"/>
  <p:txStyles>
    <p:titleStyle>
      <a:lvl1pPr algn="l" defTabSz="912847" rtl="0" eaLnBrk="1" latinLnBrk="0" hangingPunct="1">
        <a:lnSpc>
          <a:spcPct val="90000"/>
        </a:lnSpc>
        <a:spcBef>
          <a:spcPct val="0"/>
        </a:spcBef>
        <a:buNone/>
        <a:defRPr lang="en-US" sz="5499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Arial" charset="0"/>
        </a:defRPr>
      </a:lvl1pPr>
    </p:titleStyle>
    <p:bodyStyle>
      <a:lvl1pPr marL="339162" marR="0" indent="-339162" algn="l" defTabSz="91284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600" kern="1200" spc="-71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137" marR="0" indent="-232976" algn="l" defTabSz="91284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itchFamily="2" charset="2"/>
        <a:buChar char="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97189" marR="0" indent="-225050" algn="l" defTabSz="91284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itchFamily="2" charset="2"/>
        <a:buChar char=""/>
        <a:tabLst>
          <a:tab pos="797189" algn="l"/>
        </a:tabLst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580" marR="0" indent="-231390" algn="l" defTabSz="91284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itchFamily="2" charset="2"/>
        <a:buChar char="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3630" marR="0" indent="-225050" algn="l" defTabSz="91284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itchFamily="2" charset="2"/>
        <a:buChar char=""/>
        <a:tabLst>
          <a:tab pos="1253630" algn="l"/>
        </a:tabLst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0329" indent="-228212" algn="l" defTabSz="91284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66752" indent="-228212" algn="l" defTabSz="91284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3175" indent="-228212" algn="l" defTabSz="91284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79599" indent="-228212" algn="l" defTabSz="91284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284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6424" algn="l" defTabSz="91284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2847" algn="l" defTabSz="91284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270" algn="l" defTabSz="91284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693" algn="l" defTabSz="91284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2117" algn="l" defTabSz="91284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38540" algn="l" defTabSz="91284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4964" algn="l" defTabSz="91284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1388" algn="l" defTabSz="91284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8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" name="think-cell Slide" r:id="rId9" imgW="377" imgH="377" progId="TCLayout.ActiveDocument.1">
                  <p:embed/>
                </p:oleObj>
              </mc:Choice>
              <mc:Fallback>
                <p:oleObj name="think-cell Slide" r:id="rId9" imgW="377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297499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 rot="5400000">
            <a:off x="9208748" y="2991033"/>
            <a:ext cx="6858623" cy="876557"/>
          </a:xfrm>
          <a:prstGeom prst="rect">
            <a:avLst/>
          </a:prstGeom>
        </p:spPr>
      </p:pic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9388710" y="6536996"/>
            <a:ext cx="2742188" cy="19164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76">
                <a:solidFill>
                  <a:schemeClr val="tx1"/>
                </a:solidFill>
              </a:defRPr>
            </a:lvl1pPr>
          </a:lstStyle>
          <a:p>
            <a:fld id="{181750B2-C378-4896-80E6-341FDC8E0FED}" type="slidenum">
              <a:rPr lang="en-IN" smtClean="0">
                <a:solidFill>
                  <a:srgbClr val="505050"/>
                </a:solidFill>
              </a:rPr>
              <a:pPr/>
              <a:t>‹#›</a:t>
            </a:fld>
            <a:endParaRPr lang="en-IN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56855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1" r:id="rId1"/>
    <p:sldLayoutId id="2147483902" r:id="rId2"/>
    <p:sldLayoutId id="2147483904" r:id="rId3"/>
    <p:sldLayoutId id="2147483905" r:id="rId4"/>
    <p:sldLayoutId id="2147484039" r:id="rId5"/>
  </p:sldLayoutIdLst>
  <p:transition>
    <p:fade/>
  </p:transition>
  <p:hf hdr="0" ftr="0" dt="0"/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145" marR="0" indent="-336145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691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338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88">
          <p15:clr>
            <a:srgbClr val="C35EA4"/>
          </p15:clr>
        </p15:guide>
        <p15:guide id="2" pos="7546">
          <p15:clr>
            <a:srgbClr val="C35EA4"/>
          </p15:clr>
        </p15:guide>
        <p15:guide id="3" orient="horz" pos="179">
          <p15:clr>
            <a:srgbClr val="C35EA4"/>
          </p15:clr>
        </p15:guide>
        <p15:guide id="4" orient="horz" pos="4104">
          <p15:clr>
            <a:srgbClr val="C35EA4"/>
          </p15:clr>
        </p15:guide>
        <p15:guide id="5" orient="horz" pos="772">
          <p15:clr>
            <a:srgbClr val="C35EA4"/>
          </p15:clr>
        </p15:guide>
        <p15:guide id="6" orient="horz" pos="828">
          <p15:clr>
            <a:srgbClr val="C35EA4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19250" y="228602"/>
            <a:ext cx="11151917" cy="747897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520837" y="1447802"/>
            <a:ext cx="11155094" cy="20559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48052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7" r:id="rId1"/>
    <p:sldLayoutId id="2147483908" r:id="rId2"/>
    <p:sldLayoutId id="2147483909" r:id="rId3"/>
    <p:sldLayoutId id="2147483910" r:id="rId4"/>
    <p:sldLayoutId id="2147483911" r:id="rId5"/>
    <p:sldLayoutId id="2147483912" r:id="rId6"/>
    <p:sldLayoutId id="2147483913" r:id="rId7"/>
    <p:sldLayoutId id="2147483914" r:id="rId8"/>
    <p:sldLayoutId id="2147483915" r:id="rId9"/>
    <p:sldLayoutId id="2147483916" r:id="rId10"/>
    <p:sldLayoutId id="2147483917" r:id="rId11"/>
    <p:sldLayoutId id="2147483918" r:id="rId12"/>
    <p:sldLayoutId id="2147483919" r:id="rId13"/>
    <p:sldLayoutId id="2147483920" r:id="rId14"/>
    <p:sldLayoutId id="2147483921" r:id="rId15"/>
    <p:sldLayoutId id="2147483922" r:id="rId16"/>
    <p:sldLayoutId id="2147483923" r:id="rId17"/>
    <p:sldLayoutId id="2147483924" r:id="rId18"/>
    <p:sldLayoutId id="2147483925" r:id="rId19"/>
    <p:sldLayoutId id="2147483926" r:id="rId20"/>
    <p:sldLayoutId id="2147483927" r:id="rId21"/>
    <p:sldLayoutId id="2147483928" r:id="rId22"/>
    <p:sldLayoutId id="2147483932" r:id="rId23"/>
    <p:sldLayoutId id="2147483933" r:id="rId24"/>
    <p:sldLayoutId id="2147483934" r:id="rId25"/>
  </p:sldLayoutIdLst>
  <p:transition>
    <p:fade/>
  </p:transition>
  <p:hf hdr="0" ftr="0" dt="0"/>
  <p:txStyles>
    <p:titleStyle>
      <a:lvl1pPr algn="l" defTabSz="912847" rtl="0" eaLnBrk="1" latinLnBrk="0" hangingPunct="1">
        <a:lnSpc>
          <a:spcPct val="90000"/>
        </a:lnSpc>
        <a:spcBef>
          <a:spcPct val="0"/>
        </a:spcBef>
        <a:buNone/>
        <a:defRPr lang="en-US" sz="5499" b="0" kern="1200" cap="none" spc="-100" baseline="0" dirty="0" smtClean="0">
          <a:ln w="3175">
            <a:noFill/>
          </a:ln>
          <a:gradFill>
            <a:gsLst>
              <a:gs pos="1250">
                <a:schemeClr val="tx2"/>
              </a:gs>
              <a:gs pos="100000">
                <a:schemeClr val="tx2"/>
              </a:gs>
            </a:gsLst>
            <a:lin ang="5400000" scaled="0"/>
          </a:gradFill>
          <a:effectLst/>
          <a:latin typeface="+mj-lt"/>
          <a:ea typeface="+mn-ea"/>
          <a:cs typeface="Arial" charset="0"/>
        </a:defRPr>
      </a:lvl1pPr>
    </p:titleStyle>
    <p:bodyStyle>
      <a:lvl1pPr marL="339162" marR="0" indent="-339162" algn="l" defTabSz="91284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80000"/>
        <a:buFont typeface="Arial" pitchFamily="34" charset="0"/>
        <a:buChar char="•"/>
        <a:tabLst/>
        <a:defRPr sz="3600" kern="1200" spc="-71" baseline="0">
          <a:gradFill>
            <a:gsLst>
              <a:gs pos="1250">
                <a:schemeClr val="bg2"/>
              </a:gs>
              <a:gs pos="100000">
                <a:schemeClr val="bg2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137" marR="0" indent="-232976" algn="l" defTabSz="91284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itchFamily="2" charset="2"/>
        <a:buChar char=""/>
        <a:tabLst/>
        <a:defRPr sz="2400" kern="1200" spc="0" baseline="0">
          <a:gradFill>
            <a:gsLst>
              <a:gs pos="1250">
                <a:schemeClr val="bg2"/>
              </a:gs>
              <a:gs pos="100000">
                <a:schemeClr val="bg2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97189" marR="0" indent="-225050" algn="l" defTabSz="91284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itchFamily="2" charset="2"/>
        <a:buChar char=""/>
        <a:tabLst>
          <a:tab pos="797189" algn="l"/>
        </a:tabLst>
        <a:defRPr sz="2400" kern="1200" spc="0" baseline="0">
          <a:gradFill>
            <a:gsLst>
              <a:gs pos="1250">
                <a:schemeClr val="bg2"/>
              </a:gs>
              <a:gs pos="100000">
                <a:schemeClr val="bg2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580" marR="0" indent="-231390" algn="l" defTabSz="91284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itchFamily="2" charset="2"/>
        <a:buChar char=""/>
        <a:tabLst/>
        <a:defRPr sz="2000" kern="1200" spc="0" baseline="0">
          <a:gradFill>
            <a:gsLst>
              <a:gs pos="1250">
                <a:schemeClr val="bg2"/>
              </a:gs>
              <a:gs pos="100000">
                <a:schemeClr val="bg2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3630" marR="0" indent="-225050" algn="l" defTabSz="91284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itchFamily="2" charset="2"/>
        <a:buChar char=""/>
        <a:tabLst>
          <a:tab pos="1253630" algn="l"/>
        </a:tabLst>
        <a:defRPr sz="2000" kern="1200" spc="0" baseline="0">
          <a:gradFill>
            <a:gsLst>
              <a:gs pos="1250">
                <a:schemeClr val="bg2"/>
              </a:gs>
              <a:gs pos="100000">
                <a:schemeClr val="bg2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0329" indent="-228212" algn="l" defTabSz="91284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66752" indent="-228212" algn="l" defTabSz="91284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3175" indent="-228212" algn="l" defTabSz="91284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79599" indent="-228212" algn="l" defTabSz="91284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284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6424" algn="l" defTabSz="91284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2847" algn="l" defTabSz="91284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270" algn="l" defTabSz="91284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693" algn="l" defTabSz="91284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2117" algn="l" defTabSz="91284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38540" algn="l" defTabSz="91284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4964" algn="l" defTabSz="91284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1388" algn="l" defTabSz="91284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2"/>
          <a:stretch>
            <a:fillRect/>
          </a:stretch>
        </p:blipFill>
        <p:spPr>
          <a:xfrm rot="5400000">
            <a:off x="9208748" y="2991033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56922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3" r:id="rId1"/>
    <p:sldLayoutId id="2147483954" r:id="rId2"/>
    <p:sldLayoutId id="2147483955" r:id="rId3"/>
    <p:sldLayoutId id="2147483956" r:id="rId4"/>
    <p:sldLayoutId id="2147483957" r:id="rId5"/>
    <p:sldLayoutId id="2147483958" r:id="rId6"/>
    <p:sldLayoutId id="2147483959" r:id="rId7"/>
    <p:sldLayoutId id="2147483960" r:id="rId8"/>
    <p:sldLayoutId id="2147483961" r:id="rId9"/>
    <p:sldLayoutId id="2147483962" r:id="rId10"/>
    <p:sldLayoutId id="2147483963" r:id="rId11"/>
    <p:sldLayoutId id="2147483964" r:id="rId12"/>
    <p:sldLayoutId id="2147483965" r:id="rId13"/>
    <p:sldLayoutId id="2147483966" r:id="rId14"/>
    <p:sldLayoutId id="2147483967" r:id="rId15"/>
    <p:sldLayoutId id="2147483968" r:id="rId16"/>
    <p:sldLayoutId id="2147483969" r:id="rId17"/>
    <p:sldLayoutId id="2147483970" r:id="rId18"/>
    <p:sldLayoutId id="2147483971" r:id="rId19"/>
    <p:sldLayoutId id="2147483972" r:id="rId20"/>
  </p:sldLayoutIdLst>
  <p:transition>
    <p:fade/>
  </p:transition>
  <p:hf hdr="0" ftr="0" dt="0"/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145" marR="0" indent="-336145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691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338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301" y="1635910"/>
            <a:ext cx="8964185" cy="1793090"/>
          </a:xfrm>
        </p:spPr>
        <p:txBody>
          <a:bodyPr/>
          <a:lstStyle/>
          <a:p>
            <a:r>
              <a:rPr lang="en-US" sz="4400" dirty="0"/>
              <a:t>GMF Core IT – Azure Logic App &amp; Azure Function Workshop :</a:t>
            </a:r>
          </a:p>
        </p:txBody>
      </p:sp>
      <p:sp>
        <p:nvSpPr>
          <p:cNvPr id="3" name="Subtitle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December 19-20, 2019 </a:t>
            </a:r>
          </a:p>
          <a:p>
            <a:r>
              <a:rPr lang="en-US" dirty="0"/>
              <a:t>Version 1.0</a:t>
            </a:r>
          </a:p>
        </p:txBody>
      </p:sp>
    </p:spTree>
    <p:extLst>
      <p:ext uri="{BB962C8B-B14F-4D97-AF65-F5344CB8AC3E}">
        <p14:creationId xmlns:p14="http://schemas.microsoft.com/office/powerpoint/2010/main" val="1652889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C71794-2F80-4117-9124-E412404270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 Day Workshop Agenda </a:t>
            </a: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F422CD0D-EFF1-4579-9F28-700857ACE51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63304015"/>
              </p:ext>
            </p:extLst>
          </p:nvPr>
        </p:nvGraphicFramePr>
        <p:xfrm>
          <a:off x="606828" y="1295224"/>
          <a:ext cx="10964488" cy="509590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482244">
                  <a:extLst>
                    <a:ext uri="{9D8B030D-6E8A-4147-A177-3AD203B41FA5}">
                      <a16:colId xmlns:a16="http://schemas.microsoft.com/office/drawing/2014/main" val="81143396"/>
                    </a:ext>
                  </a:extLst>
                </a:gridCol>
                <a:gridCol w="5482244">
                  <a:extLst>
                    <a:ext uri="{9D8B030D-6E8A-4147-A177-3AD203B41FA5}">
                      <a16:colId xmlns:a16="http://schemas.microsoft.com/office/drawing/2014/main" val="1787322331"/>
                    </a:ext>
                  </a:extLst>
                </a:gridCol>
              </a:tblGrid>
              <a:tr h="1339711">
                <a:tc>
                  <a:txBody>
                    <a:bodyPr/>
                    <a:lstStyle/>
                    <a:p>
                      <a:r>
                        <a:rPr lang="en-US" sz="2000" b="1" kern="1200" spc="-71" baseline="0" dirty="0">
                          <a:gradFill>
                            <a:gsLst>
                              <a:gs pos="1250">
                                <a:schemeClr val="bg2"/>
                              </a:gs>
                              <a:gs pos="100000">
                                <a:schemeClr val="bg2"/>
                              </a:gs>
                            </a:gsLst>
                            <a:lin ang="5400000" scaled="0"/>
                          </a:gradFill>
                          <a:latin typeface="+mn-lt"/>
                          <a:ea typeface="+mn-ea"/>
                          <a:cs typeface="+mn-cs"/>
                        </a:rPr>
                        <a:t>Day 1  </a:t>
                      </a:r>
                      <a:br>
                        <a:rPr lang="en-US" sz="1600" b="1" kern="1200" spc="-71" baseline="0" dirty="0">
                          <a:gradFill>
                            <a:gsLst>
                              <a:gs pos="1250">
                                <a:schemeClr val="bg2"/>
                              </a:gs>
                              <a:gs pos="100000">
                                <a:schemeClr val="bg2"/>
                              </a:gs>
                            </a:gsLst>
                            <a:lin ang="5400000" scaled="0"/>
                          </a:gra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sz="1600" b="1" kern="1200" spc="-71" baseline="0" dirty="0">
                          <a:gradFill>
                            <a:gsLst>
                              <a:gs pos="1250">
                                <a:schemeClr val="bg2"/>
                              </a:gs>
                              <a:gs pos="100000">
                                <a:schemeClr val="bg2"/>
                              </a:gs>
                            </a:gsLst>
                            <a:lin ang="5400000" scaled="0"/>
                          </a:gradFill>
                          <a:latin typeface="+mn-lt"/>
                          <a:ea typeface="+mn-ea"/>
                          <a:cs typeface="+mn-cs"/>
                        </a:rPr>
                        <a:t>Thursday December 19, 2019</a:t>
                      </a:r>
                    </a:p>
                    <a:p>
                      <a:r>
                        <a:rPr lang="en-US" sz="1600" b="0" kern="1200" spc="-71" baseline="0" dirty="0">
                          <a:gradFill>
                            <a:gsLst>
                              <a:gs pos="1250">
                                <a:schemeClr val="bg2"/>
                              </a:gs>
                              <a:gs pos="100000">
                                <a:schemeClr val="bg2"/>
                              </a:gs>
                            </a:gsLst>
                            <a:lin ang="5400000" scaled="0"/>
                          </a:gradFill>
                          <a:latin typeface="+mn-lt"/>
                          <a:ea typeface="+mn-ea"/>
                          <a:cs typeface="+mn-cs"/>
                        </a:rPr>
                        <a:t>Architecture and Azure Functions</a:t>
                      </a:r>
                    </a:p>
                    <a:p>
                      <a:r>
                        <a:rPr lang="en-US" sz="1600" b="0" kern="1200" spc="-71" baseline="0" dirty="0">
                          <a:gradFill>
                            <a:gsLst>
                              <a:gs pos="1250">
                                <a:schemeClr val="bg2"/>
                              </a:gs>
                              <a:gs pos="100000">
                                <a:schemeClr val="bg2"/>
                              </a:gs>
                            </a:gsLst>
                            <a:lin ang="5400000" scaled="0"/>
                          </a:gradFill>
                          <a:latin typeface="+mn-lt"/>
                          <a:ea typeface="+mn-ea"/>
                          <a:cs typeface="+mn-cs"/>
                        </a:rPr>
                        <a:t>9:00 AM – 4:00 PM Virtual Lunch @ 11:30 AM</a:t>
                      </a:r>
                    </a:p>
                    <a:p>
                      <a:r>
                        <a:rPr lang="en-US" sz="1200" b="0" kern="1200" spc="-71" baseline="0" dirty="0">
                          <a:gradFill>
                            <a:gsLst>
                              <a:gs pos="1250">
                                <a:schemeClr val="bg2"/>
                              </a:gs>
                              <a:gs pos="100000">
                                <a:schemeClr val="bg2"/>
                              </a:gs>
                            </a:gsLst>
                            <a:lin ang="5400000" scaled="0"/>
                          </a:gradFill>
                          <a:latin typeface="+mn-lt"/>
                          <a:ea typeface="+mn-ea"/>
                          <a:cs typeface="+mn-cs"/>
                        </a:rPr>
                        <a:t>Matt  leaves at 3:30 PM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b="1" kern="1200" spc="-71" baseline="0" dirty="0">
                          <a:gradFill>
                            <a:gsLst>
                              <a:gs pos="1250">
                                <a:schemeClr val="bg2"/>
                              </a:gs>
                              <a:gs pos="100000">
                                <a:schemeClr val="bg2"/>
                              </a:gs>
                            </a:gsLst>
                            <a:lin ang="5400000" scaled="0"/>
                          </a:gradFill>
                          <a:latin typeface="+mn-lt"/>
                          <a:ea typeface="+mn-ea"/>
                          <a:cs typeface="+mn-cs"/>
                        </a:rPr>
                        <a:t>Day 2 </a:t>
                      </a:r>
                      <a:br>
                        <a:rPr lang="en-US" sz="1600" b="1" kern="1200" spc="-71" baseline="0" dirty="0">
                          <a:gradFill>
                            <a:gsLst>
                              <a:gs pos="1250">
                                <a:schemeClr val="bg2"/>
                              </a:gs>
                              <a:gs pos="100000">
                                <a:schemeClr val="bg2"/>
                              </a:gs>
                            </a:gsLst>
                            <a:lin ang="5400000" scaled="0"/>
                          </a:gra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sz="1600" b="1" kern="1200" spc="-71" baseline="0" dirty="0">
                          <a:gradFill>
                            <a:gsLst>
                              <a:gs pos="1250">
                                <a:schemeClr val="bg2"/>
                              </a:gs>
                              <a:gs pos="100000">
                                <a:schemeClr val="bg2"/>
                              </a:gs>
                            </a:gsLst>
                            <a:lin ang="5400000" scaled="0"/>
                          </a:gradFill>
                          <a:latin typeface="+mn-lt"/>
                          <a:ea typeface="+mn-ea"/>
                          <a:cs typeface="+mn-cs"/>
                        </a:rPr>
                        <a:t>Friday December 20, 2019</a:t>
                      </a:r>
                    </a:p>
                    <a:p>
                      <a:r>
                        <a:rPr lang="en-US" sz="1600" b="0" kern="1200" spc="-71" baseline="0" dirty="0">
                          <a:gradFill>
                            <a:gsLst>
                              <a:gs pos="1250">
                                <a:schemeClr val="bg2"/>
                              </a:gs>
                              <a:gs pos="100000">
                                <a:schemeClr val="bg2"/>
                              </a:gs>
                            </a:gsLst>
                            <a:lin ang="5400000" scaled="0"/>
                          </a:gradFill>
                          <a:latin typeface="+mn-lt"/>
                          <a:ea typeface="+mn-ea"/>
                          <a:cs typeface="+mn-cs"/>
                        </a:rPr>
                        <a:t>Azure Logic Apps</a:t>
                      </a:r>
                    </a:p>
                    <a:p>
                      <a:r>
                        <a:rPr lang="en-US" sz="1600" b="0" kern="1200" spc="-71" baseline="0" dirty="0">
                          <a:gradFill>
                            <a:gsLst>
                              <a:gs pos="1250">
                                <a:schemeClr val="bg2"/>
                              </a:gs>
                              <a:gs pos="100000">
                                <a:schemeClr val="bg2"/>
                              </a:gs>
                            </a:gsLst>
                            <a:lin ang="5400000" scaled="0"/>
                          </a:gradFill>
                          <a:latin typeface="+mn-lt"/>
                          <a:ea typeface="+mn-ea"/>
                          <a:cs typeface="+mn-cs"/>
                        </a:rPr>
                        <a:t>9:00 AM – 4:00 PM Virtual Lunch @ 12:30 AM</a:t>
                      </a:r>
                    </a:p>
                    <a:p>
                      <a:r>
                        <a:rPr lang="en-US" sz="1200" b="0" kern="1200" spc="-71" baseline="0" dirty="0">
                          <a:gradFill>
                            <a:gsLst>
                              <a:gs pos="1250">
                                <a:schemeClr val="bg2"/>
                              </a:gs>
                              <a:gs pos="100000">
                                <a:schemeClr val="bg2"/>
                              </a:gs>
                            </a:gsLst>
                            <a:lin ang="5400000" scaled="0"/>
                          </a:gradFill>
                          <a:latin typeface="+mn-lt"/>
                          <a:ea typeface="+mn-ea"/>
                          <a:cs typeface="+mn-cs"/>
                        </a:rPr>
                        <a:t>Matt  leaves at 12:30 PM</a:t>
                      </a:r>
                    </a:p>
                    <a:p>
                      <a:endParaRPr lang="en-US" sz="1600" b="1" kern="1200" spc="-71" baseline="0" dirty="0">
                        <a:gradFill>
                          <a:gsLst>
                            <a:gs pos="1250">
                              <a:schemeClr val="bg2"/>
                            </a:gs>
                            <a:gs pos="100000">
                              <a:schemeClr val="bg2"/>
                            </a:gs>
                          </a:gsLst>
                          <a:lin ang="5400000" scaled="0"/>
                        </a:gra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39721330"/>
                  </a:ext>
                </a:extLst>
              </a:tr>
              <a:tr h="3541421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600" b="1" kern="1200" spc="-71" baseline="0" dirty="0">
                          <a:gradFill>
                            <a:gsLst>
                              <a:gs pos="1250">
                                <a:schemeClr val="bg2"/>
                              </a:gs>
                              <a:gs pos="100000">
                                <a:schemeClr val="bg2"/>
                              </a:gs>
                            </a:gsLst>
                            <a:lin ang="5400000" scaled="0"/>
                          </a:gradFill>
                          <a:latin typeface="+mn-lt"/>
                          <a:ea typeface="+mn-ea"/>
                          <a:cs typeface="+mn-cs"/>
                        </a:rPr>
                        <a:t>9:00 AM – 11:30 AM Integration Architecture</a:t>
                      </a:r>
                    </a:p>
                    <a:p>
                      <a:pPr marL="342900" indent="-342900">
                        <a:buFont typeface="Arial" panose="020B0604020202020204" pitchFamily="34" charset="0"/>
                        <a:buChar char="•"/>
                      </a:pPr>
                      <a:r>
                        <a:rPr lang="en-US" sz="1600" kern="1200" spc="-71" baseline="0" dirty="0">
                          <a:gradFill>
                            <a:gsLst>
                              <a:gs pos="1250">
                                <a:schemeClr val="bg2"/>
                              </a:gs>
                              <a:gs pos="100000">
                                <a:schemeClr val="bg2"/>
                              </a:gs>
                            </a:gsLst>
                            <a:lin ang="5400000" scaled="0"/>
                          </a:gradFill>
                          <a:latin typeface="+mn-lt"/>
                          <a:ea typeface="+mn-ea"/>
                          <a:cs typeface="+mn-cs"/>
                        </a:rPr>
                        <a:t>Review of  data ingestion architecture done with other customers in the cloud</a:t>
                      </a:r>
                    </a:p>
                    <a:p>
                      <a:pPr marL="342900" indent="-342900">
                        <a:buFont typeface="Arial" panose="020B0604020202020204" pitchFamily="34" charset="0"/>
                        <a:buChar char="•"/>
                      </a:pPr>
                      <a:r>
                        <a:rPr lang="en-US" sz="1600" kern="1200" spc="-71" baseline="0" dirty="0">
                          <a:gradFill>
                            <a:gsLst>
                              <a:gs pos="1250">
                                <a:schemeClr val="bg2"/>
                              </a:gs>
                              <a:gs pos="100000">
                                <a:schemeClr val="bg2"/>
                              </a:gs>
                            </a:gsLst>
                            <a:lin ang="5400000" scaled="0"/>
                          </a:gradFill>
                          <a:latin typeface="+mn-lt"/>
                          <a:ea typeface="+mn-ea"/>
                          <a:cs typeface="+mn-cs"/>
                        </a:rPr>
                        <a:t>Discuss best practices when to use logic apps Vs Azure Functions </a:t>
                      </a:r>
                    </a:p>
                    <a:p>
                      <a:pPr marL="342900" indent="-342900">
                        <a:buFont typeface="Arial" panose="020B0604020202020204" pitchFamily="34" charset="0"/>
                        <a:buChar char="•"/>
                      </a:pPr>
                      <a:r>
                        <a:rPr lang="en-US" sz="1600" kern="1200" spc="-71" baseline="0" dirty="0">
                          <a:gradFill>
                            <a:gsLst>
                              <a:gs pos="1250">
                                <a:schemeClr val="bg2"/>
                              </a:gs>
                              <a:gs pos="100000">
                                <a:schemeClr val="bg2"/>
                              </a:gs>
                            </a:gsLst>
                            <a:lin ang="5400000" scaled="0"/>
                          </a:gradFill>
                          <a:latin typeface="+mn-lt"/>
                          <a:ea typeface="+mn-ea"/>
                          <a:cs typeface="+mn-cs"/>
                        </a:rPr>
                        <a:t>Discuss the types of messaging options available for these services such as Service Bus, Event Grid  , Azure Storage, Queue etc. </a:t>
                      </a:r>
                    </a:p>
                    <a:p>
                      <a:pPr marL="342900" indent="-342900">
                        <a:buFont typeface="Arial" panose="020B0604020202020204" pitchFamily="34" charset="0"/>
                        <a:buChar char="•"/>
                      </a:pPr>
                      <a:endParaRPr lang="en-US" sz="1600" kern="1200" spc="-71" baseline="0" dirty="0">
                        <a:gradFill>
                          <a:gsLst>
                            <a:gs pos="1250">
                              <a:schemeClr val="bg2"/>
                            </a:gs>
                            <a:gs pos="100000">
                              <a:schemeClr val="bg2"/>
                            </a:gs>
                          </a:gsLst>
                          <a:lin ang="5400000" scaled="0"/>
                        </a:gra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600" b="1" kern="1200" spc="-71" baseline="0" dirty="0">
                          <a:gradFill>
                            <a:gsLst>
                              <a:gs pos="1250">
                                <a:schemeClr val="bg2"/>
                              </a:gs>
                              <a:gs pos="100000">
                                <a:schemeClr val="bg2"/>
                              </a:gs>
                            </a:gsLst>
                            <a:lin ang="5400000" scaled="0"/>
                          </a:gradFill>
                          <a:latin typeface="+mn-lt"/>
                          <a:ea typeface="+mn-ea"/>
                          <a:cs typeface="+mn-cs"/>
                        </a:rPr>
                        <a:t>12:30 PM – 4:00 PM Hands on Scenarios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 b="0" kern="1200" spc="-71" baseline="0" dirty="0">
                          <a:gradFill>
                            <a:gsLst>
                              <a:gs pos="1250">
                                <a:schemeClr val="bg2"/>
                              </a:gs>
                              <a:gs pos="100000">
                                <a:schemeClr val="bg2"/>
                              </a:gs>
                            </a:gsLst>
                            <a:lin ang="5400000" scaled="0"/>
                          </a:gradFill>
                          <a:latin typeface="+mn-lt"/>
                          <a:ea typeface="+mn-ea"/>
                          <a:cs typeface="+mn-cs"/>
                        </a:rPr>
                        <a:t>Discuss &amp; Deploy scenario 1</a:t>
                      </a:r>
                    </a:p>
                    <a:p>
                      <a:pPr marL="285750" marR="0" lvl="0" indent="-285750" algn="l" defTabSz="91284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600" b="0" kern="1200" spc="-71" baseline="0" dirty="0">
                          <a:gradFill>
                            <a:gsLst>
                              <a:gs pos="1250">
                                <a:schemeClr val="bg2"/>
                              </a:gs>
                              <a:gs pos="100000">
                                <a:schemeClr val="bg2"/>
                              </a:gs>
                            </a:gsLst>
                            <a:lin ang="5400000" scaled="0"/>
                          </a:gradFill>
                          <a:latin typeface="+mn-lt"/>
                          <a:ea typeface="+mn-ea"/>
                          <a:cs typeface="+mn-cs"/>
                        </a:rPr>
                        <a:t>Discuss &amp; Deploy scenario 2</a:t>
                      </a:r>
                    </a:p>
                    <a:p>
                      <a:pPr marL="285750" marR="0" lvl="0" indent="-285750" algn="l" defTabSz="91284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600" b="0" kern="1200" spc="-71" baseline="0" dirty="0">
                          <a:gradFill>
                            <a:gsLst>
                              <a:gs pos="1250">
                                <a:schemeClr val="bg2"/>
                              </a:gs>
                              <a:gs pos="100000">
                                <a:schemeClr val="bg2"/>
                              </a:gs>
                            </a:gsLst>
                            <a:lin ang="5400000" scaled="0"/>
                          </a:gradFill>
                          <a:latin typeface="+mn-lt"/>
                          <a:ea typeface="+mn-ea"/>
                          <a:cs typeface="+mn-cs"/>
                        </a:rPr>
                        <a:t>Discuss &amp; Deploy scenario 3</a:t>
                      </a:r>
                    </a:p>
                    <a:p>
                      <a:pPr marL="285750" marR="0" lvl="0" indent="-285750" algn="l" defTabSz="91284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600" b="0" kern="1200" spc="-71" baseline="0" dirty="0">
                          <a:gradFill>
                            <a:gsLst>
                              <a:gs pos="1250">
                                <a:schemeClr val="bg2"/>
                              </a:gs>
                              <a:gs pos="100000">
                                <a:schemeClr val="bg2"/>
                              </a:gs>
                            </a:gsLst>
                            <a:lin ang="5400000" scaled="0"/>
                          </a:gradFill>
                          <a:latin typeface="+mn-lt"/>
                          <a:ea typeface="+mn-ea"/>
                          <a:cs typeface="+mn-cs"/>
                        </a:rPr>
                        <a:t>Discuss &amp; Deploy scenario 4</a:t>
                      </a:r>
                      <a:endParaRPr lang="en-US" sz="1600" b="0" kern="1200" spc="-71" baseline="0" dirty="0">
                        <a:gradFill>
                          <a:gsLst>
                            <a:gs pos="1250">
                              <a:schemeClr val="bg2"/>
                            </a:gs>
                            <a:gs pos="100000">
                              <a:schemeClr val="bg2"/>
                            </a:gs>
                          </a:gsLst>
                          <a:lin ang="5400000" scaled="0"/>
                        </a:gra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 defTabSz="912847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lang="en-US" sz="1600" b="1" kern="1200" spc="-71" baseline="0" dirty="0">
                          <a:gradFill>
                            <a:gsLst>
                              <a:gs pos="1250">
                                <a:schemeClr val="bg2"/>
                              </a:gs>
                              <a:gs pos="100000">
                                <a:schemeClr val="bg2"/>
                              </a:gs>
                            </a:gsLst>
                            <a:lin ang="5400000" scaled="0"/>
                          </a:gradFill>
                          <a:latin typeface="+mn-lt"/>
                          <a:ea typeface="+mn-ea"/>
                          <a:cs typeface="+mn-cs"/>
                        </a:rPr>
                        <a:t>9:00 AM – 11:30 AM Hands on Scenarios 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 b="0" kern="1200" spc="-71" baseline="0" dirty="0">
                          <a:gradFill>
                            <a:gsLst>
                              <a:gs pos="1250">
                                <a:schemeClr val="bg2"/>
                              </a:gs>
                              <a:gs pos="100000">
                                <a:schemeClr val="bg2"/>
                              </a:gs>
                            </a:gsLst>
                            <a:lin ang="5400000" scaled="0"/>
                          </a:gradFill>
                          <a:latin typeface="+mn-lt"/>
                          <a:ea typeface="+mn-ea"/>
                          <a:cs typeface="+mn-cs"/>
                        </a:rPr>
                        <a:t>Discuss &amp; Deploy scenario 5</a:t>
                      </a:r>
                    </a:p>
                    <a:p>
                      <a:pPr marL="285750" marR="0" lvl="0" indent="-285750" algn="l" defTabSz="91284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600" b="0" kern="1200" spc="-71" baseline="0" dirty="0">
                          <a:gradFill>
                            <a:gsLst>
                              <a:gs pos="1250">
                                <a:schemeClr val="bg2"/>
                              </a:gs>
                              <a:gs pos="100000">
                                <a:schemeClr val="bg2"/>
                              </a:gs>
                            </a:gsLst>
                            <a:lin ang="5400000" scaled="0"/>
                          </a:gradFill>
                          <a:latin typeface="+mn-lt"/>
                          <a:ea typeface="+mn-ea"/>
                          <a:cs typeface="+mn-cs"/>
                        </a:rPr>
                        <a:t>Discuss &amp; Deploy scenario 6</a:t>
                      </a:r>
                    </a:p>
                    <a:p>
                      <a:pPr marL="285750" marR="0" lvl="0" indent="-285750" algn="l" defTabSz="91284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1600" b="0" kern="1200" spc="-71" baseline="0" dirty="0">
                        <a:gradFill>
                          <a:gsLst>
                            <a:gs pos="1250">
                              <a:schemeClr val="bg2"/>
                            </a:gs>
                            <a:gs pos="100000">
                              <a:schemeClr val="bg2"/>
                            </a:gs>
                          </a:gsLst>
                          <a:lin ang="5400000" scaled="0"/>
                        </a:gra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indent="0" algn="l" defTabSz="912847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lang="en-US" sz="1600" b="1" kern="1200" spc="-71" baseline="0" dirty="0">
                          <a:gradFill>
                            <a:gsLst>
                              <a:gs pos="1250">
                                <a:schemeClr val="bg2"/>
                              </a:gs>
                              <a:gs pos="100000">
                                <a:schemeClr val="bg2"/>
                              </a:gs>
                            </a:gsLst>
                            <a:lin ang="5400000" scaled="0"/>
                          </a:gradFill>
                          <a:latin typeface="+mn-lt"/>
                          <a:ea typeface="+mn-ea"/>
                          <a:cs typeface="+mn-cs"/>
                        </a:rPr>
                        <a:t>12:30 PM – 4:00 PM Open for Q&amp;A’s and additional discussions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 b="0" kern="1200" spc="-71" baseline="0" dirty="0">
                          <a:gradFill>
                            <a:gsLst>
                              <a:gs pos="1250">
                                <a:schemeClr val="bg2"/>
                              </a:gs>
                              <a:gs pos="100000">
                                <a:schemeClr val="bg2"/>
                              </a:gs>
                            </a:gsLst>
                            <a:lin ang="5400000" scaled="0"/>
                          </a:gradFill>
                          <a:latin typeface="+mn-lt"/>
                          <a:ea typeface="+mn-ea"/>
                          <a:cs typeface="+mn-cs"/>
                        </a:rPr>
                        <a:t>Q&amp;A</a:t>
                      </a:r>
                    </a:p>
                    <a:p>
                      <a:pPr marL="0" marR="0" lvl="0" indent="0" algn="l" defTabSz="91284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b="0" kern="1200" spc="-71" baseline="0" dirty="0">
                        <a:gradFill>
                          <a:gsLst>
                            <a:gs pos="1250">
                              <a:schemeClr val="bg2"/>
                            </a:gs>
                            <a:gs pos="100000">
                              <a:schemeClr val="bg2"/>
                            </a:gs>
                          </a:gsLst>
                          <a:lin ang="5400000" scaled="0"/>
                        </a:gradFill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285750" marR="0" lvl="0" indent="-285750" algn="l" defTabSz="91284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1600" b="0" kern="1200" spc="-71" baseline="0" dirty="0">
                        <a:gradFill>
                          <a:gsLst>
                            <a:gs pos="1250">
                              <a:schemeClr val="bg2"/>
                            </a:gs>
                            <a:gs pos="100000">
                              <a:schemeClr val="bg2"/>
                            </a:gs>
                          </a:gsLst>
                          <a:lin ang="5400000" scaled="0"/>
                        </a:gra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52386937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51206828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6B9A79-ACC5-4B44-B6A7-D45763C298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xt Step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9D7FDE4-8C90-4DFB-838C-60D7086E7DD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What went right?</a:t>
            </a:r>
          </a:p>
          <a:p>
            <a:r>
              <a:rPr lang="en-US" dirty="0"/>
              <a:t>What can we improve?</a:t>
            </a:r>
          </a:p>
          <a:p>
            <a:r>
              <a:rPr lang="en-US" dirty="0"/>
              <a:t>Schedule next workshop?</a:t>
            </a:r>
          </a:p>
        </p:txBody>
      </p:sp>
    </p:spTree>
    <p:extLst>
      <p:ext uri="{BB962C8B-B14F-4D97-AF65-F5344CB8AC3E}">
        <p14:creationId xmlns:p14="http://schemas.microsoft.com/office/powerpoint/2010/main" val="491035681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0" y="6399213"/>
            <a:ext cx="560388" cy="219075"/>
          </a:xfrm>
          <a:prstGeom prst="rect">
            <a:avLst/>
          </a:prstGeom>
        </p:spPr>
        <p:txBody>
          <a:bodyPr/>
          <a:lstStyle/>
          <a:p>
            <a:pPr defTabSz="912847"/>
            <a:fld id="{727B4C2D-45E2-4621-8491-2995EB46A674}" type="slidenum">
              <a:rPr lang="en-US" smtClean="0">
                <a:gradFill>
                  <a:gsLst>
                    <a:gs pos="100000">
                      <a:srgbClr val="797A7D"/>
                    </a:gs>
                    <a:gs pos="0">
                      <a:srgbClr val="797A7D"/>
                    </a:gs>
                  </a:gsLst>
                  <a:lin ang="5400000" scaled="0"/>
                </a:gradFill>
              </a:rPr>
              <a:pPr defTabSz="912847"/>
              <a:t>4</a:t>
            </a:fld>
            <a:endParaRPr lang="en-US" dirty="0">
              <a:gradFill>
                <a:gsLst>
                  <a:gs pos="100000">
                    <a:srgbClr val="797A7D"/>
                  </a:gs>
                  <a:gs pos="0">
                    <a:srgbClr val="797A7D"/>
                  </a:gs>
                </a:gsLst>
                <a:lin ang="5400000" scaled="0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2541720301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fault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Default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efault" id="{5215F759-0B05-41DA-BB83-EA143C271E44}" vid="{FE8790DF-5029-4241-B8B9-09FCDB79BA49}"/>
    </a:ext>
  </a:extLst>
</a:theme>
</file>

<file path=ppt/theme/theme10.xml><?xml version="1.0" encoding="utf-8"?>
<a:theme xmlns:a="http://schemas.openxmlformats.org/drawingml/2006/main" name="Microsoft AzureCon 2015 Template - Color">
  <a:themeElements>
    <a:clrScheme name="MSVID Blue Brand template_10-14">
      <a:dk1>
        <a:srgbClr val="505050"/>
      </a:dk1>
      <a:lt1>
        <a:srgbClr val="FFFFFF"/>
      </a:lt1>
      <a:dk2>
        <a:srgbClr val="0078D7"/>
      </a:dk2>
      <a:lt2>
        <a:srgbClr val="CDF4FF"/>
      </a:lt2>
      <a:accent1>
        <a:srgbClr val="002050"/>
      </a:accent1>
      <a:accent2>
        <a:srgbClr val="B4009E"/>
      </a:accent2>
      <a:accent3>
        <a:srgbClr val="107C10"/>
      </a:accent3>
      <a:accent4>
        <a:srgbClr val="5C2D91"/>
      </a:accent4>
      <a:accent5>
        <a:srgbClr val="004B50"/>
      </a:accent5>
      <a:accent6>
        <a:srgbClr val="D83B01"/>
      </a:accent6>
      <a:hlink>
        <a:srgbClr val="CDF4FF"/>
      </a:hlink>
      <a:folHlink>
        <a:srgbClr val="CDF4FF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SFT_AzureCon_2015_Template_v03" id="{4715AF1A-5204-4C1D-AE3F-AB18B0EACD86}" vid="{142F58D1-7453-4167-8D3B-22E918ED6251}"/>
    </a:ext>
  </a:extLst>
</a:theme>
</file>

<file path=ppt/theme/theme11.xml><?xml version="1.0" encoding="utf-8"?>
<a:theme xmlns:a="http://schemas.openxmlformats.org/drawingml/2006/main" name="1_WHITE TEMPLATE">
  <a:themeElements>
    <a:clrScheme name="MSVID White Brand template_10-14">
      <a:dk1>
        <a:srgbClr val="505050"/>
      </a:dk1>
      <a:lt1>
        <a:srgbClr val="FFFFFF"/>
      </a:lt1>
      <a:dk2>
        <a:srgbClr val="0078D7"/>
      </a:dk2>
      <a:lt2>
        <a:srgbClr val="00BCF2"/>
      </a:lt2>
      <a:accent1>
        <a:srgbClr val="0078D7"/>
      </a:accent1>
      <a:accent2>
        <a:srgbClr val="B4009E"/>
      </a:accent2>
      <a:accent3>
        <a:srgbClr val="107C10"/>
      </a:accent3>
      <a:accent4>
        <a:srgbClr val="5C2D91"/>
      </a:accent4>
      <a:accent5>
        <a:srgbClr val="008272"/>
      </a:accent5>
      <a:accent6>
        <a:srgbClr val="D83B01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rand_template_4-3_Business_BLUE_4.potx" id="{B9317E7A-7966-40DE-8E74-E9E00A42FB17}" vid="{04E2243D-3930-4B3C-B0FF-01FE84D1912F}"/>
    </a:ext>
  </a:extLst>
</a:theme>
</file>

<file path=ppt/theme/theme1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5-30660_TR21_BO_CT_Template">
  <a:themeElements>
    <a:clrScheme name="TR20 - BO">
      <a:dk1>
        <a:srgbClr val="505050"/>
      </a:dk1>
      <a:lt1>
        <a:srgbClr val="FFFFFF"/>
      </a:lt1>
      <a:dk2>
        <a:srgbClr val="0078D7"/>
      </a:dk2>
      <a:lt2>
        <a:srgbClr val="D2D2D2"/>
      </a:lt2>
      <a:accent1>
        <a:srgbClr val="D83B01"/>
      </a:accent1>
      <a:accent2>
        <a:srgbClr val="0078D7"/>
      </a:accent2>
      <a:accent3>
        <a:srgbClr val="BAD80A"/>
      </a:accent3>
      <a:accent4>
        <a:srgbClr val="FFB900"/>
      </a:accent4>
      <a:accent5>
        <a:srgbClr val="5C2D91"/>
      </a:accent5>
      <a:accent6>
        <a:srgbClr val="002050"/>
      </a:accent6>
      <a:hlink>
        <a:srgbClr val="002050"/>
      </a:hlink>
      <a:folHlink>
        <a:srgbClr val="002050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 w="3175"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472" fontAlgn="base">
          <a:spcBef>
            <a:spcPct val="0"/>
          </a:spcBef>
          <a:spcAft>
            <a:spcPct val="0"/>
          </a:spcAft>
          <a:defRPr sz="2000" dirty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R21_BO_CT_Template.potx [Read-Only]" id="{75943521-E3C3-4031-9F22-7C26411915FC}" vid="{7540FE32-89F5-4624-B769-BFB809EDCFE3}"/>
    </a:ext>
  </a:extLst>
</a:theme>
</file>

<file path=ppt/theme/theme3.xml><?xml version="1.0" encoding="utf-8"?>
<a:theme xmlns:a="http://schemas.openxmlformats.org/drawingml/2006/main" name="1_SharePoint Template 2012 - White Background">
  <a:themeElements>
    <a:clrScheme name="Exchange-Lync-SharePoint_Template_2012_Light">
      <a:dk1>
        <a:srgbClr val="000000"/>
      </a:dk1>
      <a:lt1>
        <a:srgbClr val="FFFFFF"/>
      </a:lt1>
      <a:dk2>
        <a:srgbClr val="0072C6"/>
      </a:dk2>
      <a:lt2>
        <a:srgbClr val="797A7D"/>
      </a:lt2>
      <a:accent1>
        <a:srgbClr val="0072C6"/>
      </a:accent1>
      <a:accent2>
        <a:srgbClr val="EB3C00"/>
      </a:accent2>
      <a:accent3>
        <a:srgbClr val="FFB900"/>
      </a:accent3>
      <a:accent4>
        <a:srgbClr val="505050"/>
      </a:accent4>
      <a:accent5>
        <a:srgbClr val="969696"/>
      </a:accent5>
      <a:accent6>
        <a:srgbClr val="D2D2D2"/>
      </a:accent6>
      <a:hlink>
        <a:srgbClr val="43AFFF"/>
      </a:hlink>
      <a:folHlink>
        <a:srgbClr val="0072C6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 defTabSz="914099" fontAlgn="base">
          <a:spcBef>
            <a:spcPct val="0"/>
          </a:spcBef>
          <a:spcAft>
            <a:spcPct val="0"/>
          </a:spcAft>
          <a:defRPr sz="2200" dirty="0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400" spc="-70" dirty="0" smtClean="0">
            <a:gradFill>
              <a:gsLst>
                <a:gs pos="2917">
                  <a:schemeClr val="bg2"/>
                </a:gs>
                <a:gs pos="95000">
                  <a:schemeClr val="bg2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DCIM309-DRAFT" id="{67CF157C-4C1C-44BF-9941-CFBB96743620}" vid="{2AD3B8AC-72A9-4203-B6E2-558D3D11B320}"/>
    </a:ext>
  </a:extLst>
</a:theme>
</file>

<file path=ppt/theme/theme4.xml><?xml version="1.0" encoding="utf-8"?>
<a:theme xmlns:a="http://schemas.openxmlformats.org/drawingml/2006/main" name="5-30606_TR20_BO_CT_Template">
  <a:themeElements>
    <a:clrScheme name="TR20 - BO">
      <a:dk1>
        <a:srgbClr val="505050"/>
      </a:dk1>
      <a:lt1>
        <a:srgbClr val="FFFFFF"/>
      </a:lt1>
      <a:dk2>
        <a:srgbClr val="0078D7"/>
      </a:dk2>
      <a:lt2>
        <a:srgbClr val="D2D2D2"/>
      </a:lt2>
      <a:accent1>
        <a:srgbClr val="D83B01"/>
      </a:accent1>
      <a:accent2>
        <a:srgbClr val="0078D7"/>
      </a:accent2>
      <a:accent3>
        <a:srgbClr val="BAD80A"/>
      </a:accent3>
      <a:accent4>
        <a:srgbClr val="FFB900"/>
      </a:accent4>
      <a:accent5>
        <a:srgbClr val="5C2D91"/>
      </a:accent5>
      <a:accent6>
        <a:srgbClr val="002050"/>
      </a:accent6>
      <a:hlink>
        <a:srgbClr val="002050"/>
      </a:hlink>
      <a:folHlink>
        <a:srgbClr val="002050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 w="3175"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472" fontAlgn="base">
          <a:spcBef>
            <a:spcPct val="0"/>
          </a:spcBef>
          <a:spcAft>
            <a:spcPct val="0"/>
          </a:spcAft>
          <a:defRPr sz="2000" dirty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EB8091BA-E5A9-40E6-8123-7943DC20CA20}" vid="{F1B13A7B-B70F-4D1A-AE6D-53912D2B6EC0}"/>
    </a:ext>
  </a:extLst>
</a:theme>
</file>

<file path=ppt/theme/theme5.xml><?xml version="1.0" encoding="utf-8"?>
<a:theme xmlns:a="http://schemas.openxmlformats.org/drawingml/2006/main" name="1_COLOR TEMPLATE">
  <a:themeElements>
    <a:clrScheme name="MSVID Blue Brand template_10-14">
      <a:dk1>
        <a:srgbClr val="505050"/>
      </a:dk1>
      <a:lt1>
        <a:srgbClr val="FFFFFF"/>
      </a:lt1>
      <a:dk2>
        <a:srgbClr val="0078D7"/>
      </a:dk2>
      <a:lt2>
        <a:srgbClr val="CDF4FF"/>
      </a:lt2>
      <a:accent1>
        <a:srgbClr val="002050"/>
      </a:accent1>
      <a:accent2>
        <a:srgbClr val="B4009E"/>
      </a:accent2>
      <a:accent3>
        <a:srgbClr val="107C10"/>
      </a:accent3>
      <a:accent4>
        <a:srgbClr val="5C2D91"/>
      </a:accent4>
      <a:accent5>
        <a:srgbClr val="004B50"/>
      </a:accent5>
      <a:accent6>
        <a:srgbClr val="D83B01"/>
      </a:accent6>
      <a:hlink>
        <a:srgbClr val="CDF4FF"/>
      </a:hlink>
      <a:folHlink>
        <a:srgbClr val="CDF4FF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rand_template_4-3_Business_BLUE_4.potx" id="{B9317E7A-7966-40DE-8E74-E9E00A42FB17}" vid="{0A40798A-1D5D-4D7F-B176-48D1E8924216}"/>
    </a:ext>
  </a:extLst>
</a:theme>
</file>

<file path=ppt/theme/theme6.xml><?xml version="1.0" encoding="utf-8"?>
<a:theme xmlns:a="http://schemas.openxmlformats.org/drawingml/2006/main" name="5-30055_SharePoint Template 2012 - 16x9 - Colored Accent Slides">
  <a:themeElements>
    <a:clrScheme name="Exchange-Lync-SharePoint_Template_2012_Accen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72C6"/>
      </a:accent1>
      <a:accent2>
        <a:srgbClr val="EB3C00"/>
      </a:accent2>
      <a:accent3>
        <a:srgbClr val="007233"/>
      </a:accent3>
      <a:accent4>
        <a:srgbClr val="00188F"/>
      </a:accent4>
      <a:accent5>
        <a:srgbClr val="68217A"/>
      </a:accent5>
      <a:accent6>
        <a:srgbClr val="505050"/>
      </a:accent6>
      <a:hlink>
        <a:srgbClr val="82CAFF"/>
      </a:hlink>
      <a:folHlink>
        <a:srgbClr val="C0E4FF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 defTabSz="914099" fontAlgn="base">
          <a:spcBef>
            <a:spcPct val="0"/>
          </a:spcBef>
          <a:spcAft>
            <a:spcPct val="0"/>
          </a:spcAft>
          <a:defRPr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400" spc="-7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</a:theme>
</file>

<file path=ppt/theme/theme7.xml><?xml version="1.0" encoding="utf-8"?>
<a:theme xmlns:a="http://schemas.openxmlformats.org/drawingml/2006/main" name="2_WHITE TEMPLATE">
  <a:themeElements>
    <a:clrScheme name="MSVID White Brand template_10-14">
      <a:dk1>
        <a:srgbClr val="505050"/>
      </a:dk1>
      <a:lt1>
        <a:srgbClr val="FFFFFF"/>
      </a:lt1>
      <a:dk2>
        <a:srgbClr val="0078D7"/>
      </a:dk2>
      <a:lt2>
        <a:srgbClr val="00BCF2"/>
      </a:lt2>
      <a:accent1>
        <a:srgbClr val="0078D7"/>
      </a:accent1>
      <a:accent2>
        <a:srgbClr val="B4009E"/>
      </a:accent2>
      <a:accent3>
        <a:srgbClr val="107C10"/>
      </a:accent3>
      <a:accent4>
        <a:srgbClr val="5C2D91"/>
      </a:accent4>
      <a:accent5>
        <a:srgbClr val="008272"/>
      </a:accent5>
      <a:accent6>
        <a:srgbClr val="D83B01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rand_template_16-9 Business_BLUE_1" id="{5F55DDFD-517B-456E-9DA0-1901618FBA38}" vid="{1CEFCF73-EB2A-45D7-B34D-3D83F94B6F23}"/>
    </a:ext>
  </a:extLst>
</a:theme>
</file>

<file path=ppt/theme/theme8.xml><?xml version="1.0" encoding="utf-8"?>
<a:theme xmlns:a="http://schemas.openxmlformats.org/drawingml/2006/main" name="2_SharePoint Template 2012 - White Background">
  <a:themeElements>
    <a:clrScheme name="Exchange-Lync-SharePoint_Template_2012_Light">
      <a:dk1>
        <a:srgbClr val="000000"/>
      </a:dk1>
      <a:lt1>
        <a:srgbClr val="FFFFFF"/>
      </a:lt1>
      <a:dk2>
        <a:srgbClr val="0072C6"/>
      </a:dk2>
      <a:lt2>
        <a:srgbClr val="797A7D"/>
      </a:lt2>
      <a:accent1>
        <a:srgbClr val="0072C6"/>
      </a:accent1>
      <a:accent2>
        <a:srgbClr val="EB3C00"/>
      </a:accent2>
      <a:accent3>
        <a:srgbClr val="FFB900"/>
      </a:accent3>
      <a:accent4>
        <a:srgbClr val="505050"/>
      </a:accent4>
      <a:accent5>
        <a:srgbClr val="969696"/>
      </a:accent5>
      <a:accent6>
        <a:srgbClr val="D2D2D2"/>
      </a:accent6>
      <a:hlink>
        <a:srgbClr val="43AFFF"/>
      </a:hlink>
      <a:folHlink>
        <a:srgbClr val="0072C6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 defTabSz="914099" fontAlgn="base">
          <a:spcBef>
            <a:spcPct val="0"/>
          </a:spcBef>
          <a:spcAft>
            <a:spcPct val="0"/>
          </a:spcAft>
          <a:defRPr sz="2200" dirty="0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400" spc="-70" dirty="0" smtClean="0">
            <a:gradFill>
              <a:gsLst>
                <a:gs pos="2917">
                  <a:schemeClr val="bg2"/>
                </a:gs>
                <a:gs pos="95000">
                  <a:schemeClr val="bg2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DCIM309-DRAFT" id="{67CF157C-4C1C-44BF-9941-CFBB96743620}" vid="{2AD3B8AC-72A9-4203-B6E2-558D3D11B320}"/>
    </a:ext>
  </a:extLst>
</a:theme>
</file>

<file path=ppt/theme/theme9.xml><?xml version="1.0" encoding="utf-8"?>
<a:theme xmlns:a="http://schemas.openxmlformats.org/drawingml/2006/main" name="WHITE TEMPLATE">
  <a:themeElements>
    <a:clrScheme name="MSVID White Brand template_10-14">
      <a:dk1>
        <a:srgbClr val="505050"/>
      </a:dk1>
      <a:lt1>
        <a:srgbClr val="FFFFFF"/>
      </a:lt1>
      <a:dk2>
        <a:srgbClr val="0078D7"/>
      </a:dk2>
      <a:lt2>
        <a:srgbClr val="00BCF2"/>
      </a:lt2>
      <a:accent1>
        <a:srgbClr val="0078D7"/>
      </a:accent1>
      <a:accent2>
        <a:srgbClr val="B4009E"/>
      </a:accent2>
      <a:accent3>
        <a:srgbClr val="107C10"/>
      </a:accent3>
      <a:accent4>
        <a:srgbClr val="5C2D91"/>
      </a:accent4>
      <a:accent5>
        <a:srgbClr val="008272"/>
      </a:accent5>
      <a:accent6>
        <a:srgbClr val="D83B01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SFT_AzureCon_2015_Template_v03" id="{4715AF1A-5204-4C1D-AE3F-AB18B0EACD86}" vid="{F49B64AE-F52D-4E00-A733-3466B8A17420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2CBC479F59D2942A810CABA604B8A26" ma:contentTypeVersion="14" ma:contentTypeDescription="Create a new document." ma:contentTypeScope="" ma:versionID="b0df69bf1f54f9f01d2514c8d8a60d14">
  <xsd:schema xmlns:xsd="http://www.w3.org/2001/XMLSchema" xmlns:xs="http://www.w3.org/2001/XMLSchema" xmlns:p="http://schemas.microsoft.com/office/2006/metadata/properties" xmlns:ns2="78cf4c69-9bf0-46ae-9fd2-36ad3f62a995" xmlns:ns3="3e59dff3-7df0-407a-9e90-b6401f3a099b" targetNamespace="http://schemas.microsoft.com/office/2006/metadata/properties" ma:root="true" ma:fieldsID="d3470043e2495496cf3b2c1aea2a5a8c" ns2:_="" ns3:_="">
    <xsd:import namespace="78cf4c69-9bf0-46ae-9fd2-36ad3f62a995"/>
    <xsd:import namespace="3e59dff3-7df0-407a-9e90-b6401f3a099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3:LastSharedByUser" minOccurs="0"/>
                <xsd:element ref="ns3:LastSharedByTime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EventHashCode" minOccurs="0"/>
                <xsd:element ref="ns2:MediaServiceGenerationTime" minOccurs="0"/>
                <xsd:element ref="ns2:MediaServiceLocation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8cf4c69-9bf0-46ae-9fd2-36ad3f62a99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4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5" nillable="true" ma:displayName="MediaServiceAutoTags" ma:internalName="MediaServiceAutoTags" ma:readOnly="true">
      <xsd:simpleType>
        <xsd:restriction base="dms:Text"/>
      </xsd:simpleType>
    </xsd:element>
    <xsd:element name="MediaServiceOCR" ma:index="16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MediaServiceAutoKeyPoints" ma:index="2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1" nillable="true" ma:displayName="KeyPoints" ma:internalName="MediaServiceKeyPoints" ma:readOnly="fals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e59dff3-7df0-407a-9e90-b6401f3a099b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LastSharedByUser" ma:index="12" nillable="true" ma:displayName="Last Shared By User" ma:description="" ma:hidden="true" ma:internalName="LastSharedByUser" ma:readOnly="true">
      <xsd:simpleType>
        <xsd:restriction base="dms:Note"/>
      </xsd:simpleType>
    </xsd:element>
    <xsd:element name="LastSharedByTime" ma:index="13" nillable="true" ma:displayName="Last Shared By Time" ma:description="" ma:hidden="true" ma:internalName="LastSharedByTime" ma:readOnly="true">
      <xsd:simpleType>
        <xsd:restriction base="dms:DateTim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ediaServiceKeyPoints xmlns="78cf4c69-9bf0-46ae-9fd2-36ad3f62a995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99F39E1-368D-4721-A5D6-C8093122367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8cf4c69-9bf0-46ae-9fd2-36ad3f62a995"/>
    <ds:schemaRef ds:uri="3e59dff3-7df0-407a-9e90-b6401f3a099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C85166AB-337D-45A6-AAF6-B90EE6F3ADC1}">
  <ds:schemaRefs>
    <ds:schemaRef ds:uri="http://schemas.microsoft.com/office/2006/metadata/properties"/>
    <ds:schemaRef ds:uri="http://purl.org/dc/terms/"/>
    <ds:schemaRef ds:uri="http://schemas.microsoft.com/office/2006/documentManagement/types"/>
    <ds:schemaRef ds:uri="http://purl.org/dc/dcmitype/"/>
    <ds:schemaRef ds:uri="3e59dff3-7df0-407a-9e90-b6401f3a099b"/>
    <ds:schemaRef ds:uri="78cf4c69-9bf0-46ae-9fd2-36ad3f62a995"/>
    <ds:schemaRef ds:uri="http://purl.org/dc/elements/1.1/"/>
    <ds:schemaRef ds:uri="http://www.w3.org/XML/1998/namespace"/>
    <ds:schemaRef ds:uri="http://schemas.microsoft.com/office/infopath/2007/PartnerControls"/>
    <ds:schemaRef ds:uri="http://schemas.openxmlformats.org/package/2006/metadata/core-properties"/>
  </ds:schemaRefs>
</ds:datastoreItem>
</file>

<file path=customXml/itemProps3.xml><?xml version="1.0" encoding="utf-8"?>
<ds:datastoreItem xmlns:ds="http://schemas.openxmlformats.org/officeDocument/2006/customXml" ds:itemID="{590BB755-F114-4A36-8B1A-4A320FC08A07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0</TotalTime>
  <Words>207</Words>
  <Application>Microsoft Office PowerPoint</Application>
  <PresentationFormat>Widescreen</PresentationFormat>
  <Paragraphs>33</Paragraphs>
  <Slides>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24" baseType="lpstr">
      <vt:lpstr>Arial</vt:lpstr>
      <vt:lpstr>Calibri</vt:lpstr>
      <vt:lpstr>Consolas</vt:lpstr>
      <vt:lpstr>Segoe Semibold</vt:lpstr>
      <vt:lpstr>Segoe UI</vt:lpstr>
      <vt:lpstr>Segoe UI Light</vt:lpstr>
      <vt:lpstr>Segoe UI Semibold</vt:lpstr>
      <vt:lpstr>Wingdings</vt:lpstr>
      <vt:lpstr>default</vt:lpstr>
      <vt:lpstr>5-30660_TR21_BO_CT_Template</vt:lpstr>
      <vt:lpstr>1_SharePoint Template 2012 - White Background</vt:lpstr>
      <vt:lpstr>5-30606_TR20_BO_CT_Template</vt:lpstr>
      <vt:lpstr>1_COLOR TEMPLATE</vt:lpstr>
      <vt:lpstr>5-30055_SharePoint Template 2012 - 16x9 - Colored Accent Slides</vt:lpstr>
      <vt:lpstr>2_WHITE TEMPLATE</vt:lpstr>
      <vt:lpstr>2_SharePoint Template 2012 - White Background</vt:lpstr>
      <vt:lpstr>WHITE TEMPLATE</vt:lpstr>
      <vt:lpstr>Microsoft AzureCon 2015 Template - Color</vt:lpstr>
      <vt:lpstr>1_WHITE TEMPLATE</vt:lpstr>
      <vt:lpstr>think-cell Slide</vt:lpstr>
      <vt:lpstr>GMF Core IT – Azure Logic App &amp; Azure Function Workshop :</vt:lpstr>
      <vt:lpstr>2 Day Workshop Agenda </vt:lpstr>
      <vt:lpstr>Next Steps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5-11-19T02:05:32Z</dcterms:created>
  <dcterms:modified xsi:type="dcterms:W3CDTF">2019-12-19T10:54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2CBC479F59D2942A810CABA604B8A26</vt:lpwstr>
  </property>
  <property fmtid="{D5CDD505-2E9C-101B-9397-08002B2CF9AE}" pid="3" name="MSIP_Label_f42aa342-8706-4288-bd11-ebb85995028c_Enabled">
    <vt:lpwstr>True</vt:lpwstr>
  </property>
  <property fmtid="{D5CDD505-2E9C-101B-9397-08002B2CF9AE}" pid="4" name="MSIP_Label_f42aa342-8706-4288-bd11-ebb85995028c_SiteId">
    <vt:lpwstr>72f988bf-86f1-41af-91ab-2d7cd011db47</vt:lpwstr>
  </property>
  <property fmtid="{D5CDD505-2E9C-101B-9397-08002B2CF9AE}" pid="5" name="MSIP_Label_f42aa342-8706-4288-bd11-ebb85995028c_Owner">
    <vt:lpwstr>aljosep@microsoft.com</vt:lpwstr>
  </property>
  <property fmtid="{D5CDD505-2E9C-101B-9397-08002B2CF9AE}" pid="6" name="MSIP_Label_f42aa342-8706-4288-bd11-ebb85995028c_SetDate">
    <vt:lpwstr>2019-12-18T18:26:29.7175125Z</vt:lpwstr>
  </property>
  <property fmtid="{D5CDD505-2E9C-101B-9397-08002B2CF9AE}" pid="7" name="MSIP_Label_f42aa342-8706-4288-bd11-ebb85995028c_Name">
    <vt:lpwstr>General</vt:lpwstr>
  </property>
  <property fmtid="{D5CDD505-2E9C-101B-9397-08002B2CF9AE}" pid="8" name="MSIP_Label_f42aa342-8706-4288-bd11-ebb85995028c_Application">
    <vt:lpwstr>Microsoft Azure Information Protection</vt:lpwstr>
  </property>
  <property fmtid="{D5CDD505-2E9C-101B-9397-08002B2CF9AE}" pid="9" name="MSIP_Label_f42aa342-8706-4288-bd11-ebb85995028c_ActionId">
    <vt:lpwstr>f3aa0e06-496c-48a6-835a-44ca9262a430</vt:lpwstr>
  </property>
  <property fmtid="{D5CDD505-2E9C-101B-9397-08002B2CF9AE}" pid="10" name="MSIP_Label_f42aa342-8706-4288-bd11-ebb85995028c_Extended_MSFT_Method">
    <vt:lpwstr>Automatic</vt:lpwstr>
  </property>
  <property fmtid="{D5CDD505-2E9C-101B-9397-08002B2CF9AE}" pid="11" name="Sensitivity">
    <vt:lpwstr>General</vt:lpwstr>
  </property>
</Properties>
</file>